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omments/modernComment_107_3B14C34A.xml" ContentType="application/vnd.ms-powerpoint.comment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slides/slide90.xml" ContentType="application/vnd.openxmlformats-officedocument.presentationml.slide+xml"/>
  <Override PartName="/ppt/slides/slide29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4.xml" ContentType="application/vnd.openxmlformats-officedocument.presentationml.tags+xml"/>
  <Override PartName="/ppt/slideLayouts/slideLayout24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9.xml" ContentType="application/vnd.openxmlformats-officedocument.presentationml.slideLayout+xml"/>
  <Override PartName="/ppt/tags/tag110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4" r:id="rId2"/>
    <p:sldId id="267" r:id="rId3"/>
    <p:sldId id="262" r:id="rId4"/>
    <p:sldId id="261" r:id="rId5"/>
    <p:sldId id="259" r:id="rId6"/>
    <p:sldId id="260" r:id="rId7"/>
    <p:sldId id="258" r:id="rId8"/>
    <p:sldId id="264" r:id="rId9"/>
    <p:sldId id="291" r:id="rId10"/>
    <p:sldId id="257" r:id="rId11"/>
    <p:sldId id="285" r:id="rId12"/>
    <p:sldId id="279" r:id="rId13"/>
    <p:sldId id="280" r:id="rId14"/>
    <p:sldId id="281" r:id="rId15"/>
    <p:sldId id="282" r:id="rId16"/>
    <p:sldId id="286" r:id="rId17"/>
    <p:sldId id="263" r:id="rId18"/>
    <p:sldId id="287" r:id="rId19"/>
    <p:sldId id="277" r:id="rId20"/>
    <p:sldId id="266" r:id="rId21"/>
    <p:sldId id="288" r:id="rId22"/>
    <p:sldId id="289" r:id="rId23"/>
    <p:sldId id="268" r:id="rId24"/>
    <p:sldId id="269" r:id="rId25"/>
    <p:sldId id="265" r:id="rId26"/>
    <p:sldId id="270" r:id="rId27"/>
    <p:sldId id="290" r:id="rId28"/>
    <p:sldId id="276" r:id="rId29"/>
    <p:sldId id="275" r:id="rId30"/>
    <p:sldId id="272" r:id="rId31"/>
    <p:sldId id="273" r:id="rId32"/>
    <p:sldId id="274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976767E-C688-48C2-9965-E19D43ACCB13}">
          <p14:sldIdLst>
            <p14:sldId id="284"/>
          </p14:sldIdLst>
        </p14:section>
        <p14:section name="Agenda" id="{D925A667-4718-4124-BBF8-269FB5CCF812}">
          <p14:sldIdLst>
            <p14:sldId id="267"/>
          </p14:sldIdLst>
        </p14:section>
        <p14:section name="Finance" id="{BF48E9C5-A89F-4BD3-BEB8-50F91C158048}">
          <p14:sldIdLst>
            <p14:sldId id="262"/>
            <p14:sldId id="261"/>
            <p14:sldId id="259"/>
            <p14:sldId id="260"/>
            <p14:sldId id="258"/>
            <p14:sldId id="264"/>
          </p14:sldIdLst>
        </p14:section>
        <p14:section name="Development" id="{37A2381A-6817-4DFE-8045-BEECC13AD42A}">
          <p14:sldIdLst>
            <p14:sldId id="291"/>
            <p14:sldId id="257"/>
            <p14:sldId id="285"/>
            <p14:sldId id="279"/>
            <p14:sldId id="280"/>
            <p14:sldId id="281"/>
            <p14:sldId id="282"/>
            <p14:sldId id="286"/>
            <p14:sldId id="263"/>
            <p14:sldId id="287"/>
            <p14:sldId id="277"/>
            <p14:sldId id="266"/>
            <p14:sldId id="288"/>
            <p14:sldId id="289"/>
            <p14:sldId id="268"/>
            <p14:sldId id="269"/>
            <p14:sldId id="265"/>
            <p14:sldId id="270"/>
            <p14:sldId id="290"/>
            <p14:sldId id="276"/>
            <p14:sldId id="275"/>
            <p14:sldId id="272"/>
            <p14:sldId id="273"/>
            <p14:sldId id="274"/>
          </p14:sldIdLst>
        </p14:section>
        <p14:section name="Entry Messages" id="{E3A71334-1D89-4A77-9B11-F5B198BBCB16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BC4800-AC70-D95E-CB44-A683EDD44AF7}" name="Anne Broe" initials="AB" userId="Anne Bro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EA51B2-04B3-4B6A-B7B9-A138782D9874}" v="100" dt="2026-03-23T16:47:41.6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–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49" autoAdjust="0"/>
    <p:restoredTop sz="94660"/>
  </p:normalViewPr>
  <p:slideViewPr>
    <p:cSldViewPr snapToGrid="0">
      <p:cViewPr varScale="1">
        <p:scale>
          <a:sx n="73" d="100"/>
          <a:sy n="73" d="100"/>
        </p:scale>
        <p:origin x="69" y="2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5/10/relationships/revisionInfo" Target="revisionInfo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40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mayeel Syed" userId="ce5934cc-f5d7-4e89-9253-f9097791f564" providerId="ADAL" clId="{D9C879D9-DAC2-463C-878B-4E50A667545F}"/>
    <pc:docChg chg="undo custSel addSld delSld modSld delMainMaster modSection">
      <pc:chgData name="Ismayeel Syed" userId="ce5934cc-f5d7-4e89-9253-f9097791f564" providerId="ADAL" clId="{D9C879D9-DAC2-463C-878B-4E50A667545F}" dt="2026-03-23T16:49:37.868" v="456" actId="47"/>
      <pc:docMkLst>
        <pc:docMk/>
      </pc:docMkLst>
      <pc:sldChg chg="add del">
        <pc:chgData name="Ismayeel Syed" userId="ce5934cc-f5d7-4e89-9253-f9097791f564" providerId="ADAL" clId="{D9C879D9-DAC2-463C-878B-4E50A667545F}" dt="2026-03-22T17:19:54.673" v="286" actId="47"/>
        <pc:sldMkLst>
          <pc:docMk/>
          <pc:sldMk cId="612143328" sldId="256"/>
        </pc:sldMkLst>
      </pc:sldChg>
      <pc:sldChg chg="modSp add del mod">
        <pc:chgData name="Ismayeel Syed" userId="ce5934cc-f5d7-4e89-9253-f9097791f564" providerId="ADAL" clId="{D9C879D9-DAC2-463C-878B-4E50A667545F}" dt="2026-03-22T17:22:06.977" v="334" actId="20577"/>
        <pc:sldMkLst>
          <pc:docMk/>
          <pc:sldMk cId="484027563" sldId="257"/>
        </pc:sldMkLst>
        <pc:spChg chg="mod">
          <ac:chgData name="Ismayeel Syed" userId="ce5934cc-f5d7-4e89-9253-f9097791f564" providerId="ADAL" clId="{D9C879D9-DAC2-463C-878B-4E50A667545F}" dt="2026-03-22T17:20:04.872" v="289" actId="113"/>
          <ac:spMkLst>
            <pc:docMk/>
            <pc:sldMk cId="484027563" sldId="257"/>
            <ac:spMk id="2" creationId="{7889EE82-278E-6958-4669-1CFFD48329A7}"/>
          </ac:spMkLst>
        </pc:spChg>
        <pc:spChg chg="mod">
          <ac:chgData name="Ismayeel Syed" userId="ce5934cc-f5d7-4e89-9253-f9097791f564" providerId="ADAL" clId="{D9C879D9-DAC2-463C-878B-4E50A667545F}" dt="2026-03-22T17:22:06.977" v="334" actId="20577"/>
          <ac:spMkLst>
            <pc:docMk/>
            <pc:sldMk cId="484027563" sldId="257"/>
            <ac:spMk id="12" creationId="{AA43F4C9-3E1F-AC5B-500D-ACE4F5D28B81}"/>
          </ac:spMkLst>
        </pc:spChg>
        <pc:picChg chg="mod">
          <ac:chgData name="Ismayeel Syed" userId="ce5934cc-f5d7-4e89-9253-f9097791f564" providerId="ADAL" clId="{D9C879D9-DAC2-463C-878B-4E50A667545F}" dt="2026-03-22T17:20:25.710" v="294" actId="1076"/>
          <ac:picMkLst>
            <pc:docMk/>
            <pc:sldMk cId="484027563" sldId="257"/>
            <ac:picMk id="11" creationId="{B29C69EC-4303-9162-C885-A4C023CBC964}"/>
          </ac:picMkLst>
        </pc:picChg>
      </pc:sldChg>
      <pc:sldChg chg="addSp delSp modSp mod">
        <pc:chgData name="Ismayeel Syed" userId="ce5934cc-f5d7-4e89-9253-f9097791f564" providerId="ADAL" clId="{D9C879D9-DAC2-463C-878B-4E50A667545F}" dt="2026-03-22T17:25:25.032" v="345" actId="478"/>
        <pc:sldMkLst>
          <pc:docMk/>
          <pc:sldMk cId="3184700289" sldId="258"/>
        </pc:sldMkLst>
        <pc:spChg chg="add del mod">
          <ac:chgData name="Ismayeel Syed" userId="ce5934cc-f5d7-4e89-9253-f9097791f564" providerId="ADAL" clId="{D9C879D9-DAC2-463C-878B-4E50A667545F}" dt="2026-03-22T17:25:25.032" v="345" actId="478"/>
          <ac:spMkLst>
            <pc:docMk/>
            <pc:sldMk cId="3184700289" sldId="258"/>
            <ac:spMk id="3" creationId="{C0A40115-D56E-8E95-F101-EC5656F79A6B}"/>
          </ac:spMkLst>
        </pc:spChg>
        <pc:graphicFrameChg chg="del">
          <ac:chgData name="Ismayeel Syed" userId="ce5934cc-f5d7-4e89-9253-f9097791f564" providerId="ADAL" clId="{D9C879D9-DAC2-463C-878B-4E50A667545F}" dt="2026-03-22T17:25:19.310" v="343" actId="478"/>
          <ac:graphicFrameMkLst>
            <pc:docMk/>
            <pc:sldMk cId="3184700289" sldId="258"/>
            <ac:graphicFrameMk id="4" creationId="{FBF36877-F6B0-8C78-A73D-34D654C05B69}"/>
          </ac:graphicFrameMkLst>
        </pc:graphicFrameChg>
        <pc:picChg chg="add mod">
          <ac:chgData name="Ismayeel Syed" userId="ce5934cc-f5d7-4e89-9253-f9097791f564" providerId="ADAL" clId="{D9C879D9-DAC2-463C-878B-4E50A667545F}" dt="2026-03-22T17:25:21.425" v="344"/>
          <ac:picMkLst>
            <pc:docMk/>
            <pc:sldMk cId="3184700289" sldId="258"/>
            <ac:picMk id="5" creationId="{EA053ABD-0747-FFDE-832A-40000743BBF4}"/>
          </ac:picMkLst>
        </pc:picChg>
      </pc:sldChg>
      <pc:sldChg chg="modSp mod">
        <pc:chgData name="Ismayeel Syed" userId="ce5934cc-f5d7-4e89-9253-f9097791f564" providerId="ADAL" clId="{D9C879D9-DAC2-463C-878B-4E50A667545F}" dt="2026-03-22T17:24:35.922" v="342" actId="13926"/>
        <pc:sldMkLst>
          <pc:docMk/>
          <pc:sldMk cId="1817686527" sldId="259"/>
        </pc:sldMkLst>
        <pc:graphicFrameChg chg="mod modGraphic">
          <ac:chgData name="Ismayeel Syed" userId="ce5934cc-f5d7-4e89-9253-f9097791f564" providerId="ADAL" clId="{D9C879D9-DAC2-463C-878B-4E50A667545F}" dt="2026-03-22T17:24:35.922" v="342" actId="13926"/>
          <ac:graphicFrameMkLst>
            <pc:docMk/>
            <pc:sldMk cId="1817686527" sldId="259"/>
            <ac:graphicFrameMk id="4" creationId="{44008784-173A-28B0-6532-9F9DA2B55B61}"/>
          </ac:graphicFrameMkLst>
        </pc:graphicFrameChg>
      </pc:sldChg>
      <pc:sldChg chg="modSp mod">
        <pc:chgData name="Ismayeel Syed" userId="ce5934cc-f5d7-4e89-9253-f9097791f564" providerId="ADAL" clId="{D9C879D9-DAC2-463C-878B-4E50A667545F}" dt="2026-03-09T12:27:15.360" v="82" actId="207"/>
        <pc:sldMkLst>
          <pc:docMk/>
          <pc:sldMk cId="699688686" sldId="260"/>
        </pc:sldMkLst>
        <pc:graphicFrameChg chg="mod modGraphic">
          <ac:chgData name="Ismayeel Syed" userId="ce5934cc-f5d7-4e89-9253-f9097791f564" providerId="ADAL" clId="{D9C879D9-DAC2-463C-878B-4E50A667545F}" dt="2026-03-09T12:27:15.360" v="82" actId="207"/>
          <ac:graphicFrameMkLst>
            <pc:docMk/>
            <pc:sldMk cId="699688686" sldId="260"/>
            <ac:graphicFrameMk id="4" creationId="{FD909EE9-FF49-FB05-B9F2-5968088E629F}"/>
          </ac:graphicFrameMkLst>
        </pc:graphicFrameChg>
      </pc:sldChg>
      <pc:sldChg chg="modSp mod">
        <pc:chgData name="Ismayeel Syed" userId="ce5934cc-f5d7-4e89-9253-f9097791f564" providerId="ADAL" clId="{D9C879D9-DAC2-463C-878B-4E50A667545F}" dt="2026-03-09T12:27:20.400" v="83" actId="207"/>
        <pc:sldMkLst>
          <pc:docMk/>
          <pc:sldMk cId="3831410587" sldId="261"/>
        </pc:sldMkLst>
        <pc:graphicFrameChg chg="mod modGraphic">
          <ac:chgData name="Ismayeel Syed" userId="ce5934cc-f5d7-4e89-9253-f9097791f564" providerId="ADAL" clId="{D9C879D9-DAC2-463C-878B-4E50A667545F}" dt="2026-03-09T12:27:20.400" v="83" actId="207"/>
          <ac:graphicFrameMkLst>
            <pc:docMk/>
            <pc:sldMk cId="3831410587" sldId="261"/>
            <ac:graphicFrameMk id="4" creationId="{DAB26C6A-3AE0-EE94-36C9-E07B9C9FDE13}"/>
          </ac:graphicFrameMkLst>
        </pc:graphicFrameChg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991216458" sldId="263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3322045611" sldId="265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3183893099" sldId="266"/>
        </pc:sldMkLst>
      </pc:sldChg>
      <pc:sldChg chg="addSp delSp modSp mod">
        <pc:chgData name="Ismayeel Syed" userId="ce5934cc-f5d7-4e89-9253-f9097791f564" providerId="ADAL" clId="{D9C879D9-DAC2-463C-878B-4E50A667545F}" dt="2026-03-22T17:36:45.665" v="450" actId="122"/>
        <pc:sldMkLst>
          <pc:docMk/>
          <pc:sldMk cId="1092011349" sldId="267"/>
        </pc:sldMkLst>
        <pc:spChg chg="mod">
          <ac:chgData name="Ismayeel Syed" userId="ce5934cc-f5d7-4e89-9253-f9097791f564" providerId="ADAL" clId="{D9C879D9-DAC2-463C-878B-4E50A667545F}" dt="2026-03-22T17:35:48.744" v="413" actId="255"/>
          <ac:spMkLst>
            <pc:docMk/>
            <pc:sldMk cId="1092011349" sldId="267"/>
            <ac:spMk id="4" creationId="{0CA92706-1274-5FC0-A4E8-BB3E84BBC57F}"/>
          </ac:spMkLst>
        </pc:spChg>
        <pc:spChg chg="mod">
          <ac:chgData name="Ismayeel Syed" userId="ce5934cc-f5d7-4e89-9253-f9097791f564" providerId="ADAL" clId="{D9C879D9-DAC2-463C-878B-4E50A667545F}" dt="2026-03-22T17:36:45.665" v="450" actId="122"/>
          <ac:spMkLst>
            <pc:docMk/>
            <pc:sldMk cId="1092011349" sldId="267"/>
            <ac:spMk id="5" creationId="{C6F14644-AF24-F792-D1B5-7BB9EC8A501C}"/>
          </ac:spMkLst>
        </pc:spChg>
        <pc:picChg chg="add del">
          <ac:chgData name="Ismayeel Syed" userId="ce5934cc-f5d7-4e89-9253-f9097791f564" providerId="ADAL" clId="{D9C879D9-DAC2-463C-878B-4E50A667545F}" dt="2026-03-22T17:35:42.585" v="412" actId="478"/>
          <ac:picMkLst>
            <pc:docMk/>
            <pc:sldMk cId="1092011349" sldId="267"/>
            <ac:picMk id="3" creationId="{EAE24418-35C8-D4F0-F35C-8CF6EEA061B3}"/>
          </ac:picMkLst>
        </pc:picChg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612143328" sldId="268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771274481" sldId="268"/>
        </pc:sldMkLst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1151713060" sldId="269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1910191044" sldId="269"/>
        </pc:sldMkLst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729028700" sldId="270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1645246890" sldId="270"/>
        </pc:sldMkLst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1818863922" sldId="271"/>
        </pc:sldMkLst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783933475" sldId="272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3596861939" sldId="272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3413854945" sldId="273"/>
        </pc:sldMkLst>
      </pc:sldChg>
      <pc:sldChg chg="addSp modSp add del mod">
        <pc:chgData name="Ismayeel Syed" userId="ce5934cc-f5d7-4e89-9253-f9097791f564" providerId="ADAL" clId="{D9C879D9-DAC2-463C-878B-4E50A667545F}" dt="2026-03-22T17:32:29.780" v="360" actId="1076"/>
        <pc:sldMkLst>
          <pc:docMk/>
          <pc:sldMk cId="4090563141" sldId="274"/>
        </pc:sldMkLst>
        <pc:spChg chg="mod">
          <ac:chgData name="Ismayeel Syed" userId="ce5934cc-f5d7-4e89-9253-f9097791f564" providerId="ADAL" clId="{D9C879D9-DAC2-463C-878B-4E50A667545F}" dt="2026-03-22T17:32:29.780" v="360" actId="1076"/>
          <ac:spMkLst>
            <pc:docMk/>
            <pc:sldMk cId="4090563141" sldId="274"/>
            <ac:spMk id="2" creationId="{D2CE80CD-E347-0FBB-7BC1-26F9F9997830}"/>
          </ac:spMkLst>
        </pc:spChg>
        <pc:picChg chg="mod">
          <ac:chgData name="Ismayeel Syed" userId="ce5934cc-f5d7-4e89-9253-f9097791f564" providerId="ADAL" clId="{D9C879D9-DAC2-463C-878B-4E50A667545F}" dt="2026-03-22T17:31:55.234" v="352" actId="1076"/>
          <ac:picMkLst>
            <pc:docMk/>
            <pc:sldMk cId="4090563141" sldId="274"/>
            <ac:picMk id="5" creationId="{BD9BB925-8E47-4FA4-9099-C83DD26507BD}"/>
          </ac:picMkLst>
        </pc:picChg>
        <pc:picChg chg="add mod">
          <ac:chgData name="Ismayeel Syed" userId="ce5934cc-f5d7-4e89-9253-f9097791f564" providerId="ADAL" clId="{D9C879D9-DAC2-463C-878B-4E50A667545F}" dt="2026-03-22T17:32:06.581" v="355" actId="14100"/>
          <ac:picMkLst>
            <pc:docMk/>
            <pc:sldMk cId="4090563141" sldId="274"/>
            <ac:picMk id="6" creationId="{D689507C-7495-84E6-9BE5-1D5DF4FD2004}"/>
          </ac:picMkLst>
        </pc:picChg>
      </pc:sldChg>
      <pc:sldChg chg="modSp add del">
        <pc:chgData name="Ismayeel Syed" userId="ce5934cc-f5d7-4e89-9253-f9097791f564" providerId="ADAL" clId="{D9C879D9-DAC2-463C-878B-4E50A667545F}" dt="2026-03-23T16:47:41.680" v="455" actId="20577"/>
        <pc:sldMkLst>
          <pc:docMk/>
          <pc:sldMk cId="3275713142" sldId="275"/>
        </pc:sldMkLst>
        <pc:spChg chg="mod">
          <ac:chgData name="Ismayeel Syed" userId="ce5934cc-f5d7-4e89-9253-f9097791f564" providerId="ADAL" clId="{D9C879D9-DAC2-463C-878B-4E50A667545F}" dt="2026-03-23T16:47:41.680" v="455" actId="20577"/>
          <ac:spMkLst>
            <pc:docMk/>
            <pc:sldMk cId="3275713142" sldId="275"/>
            <ac:spMk id="3" creationId="{2C8AA794-5A3C-7204-176E-1AA5544E4AB6}"/>
          </ac:spMkLst>
        </pc:spChg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3759220610" sldId="276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2686017399" sldId="277"/>
        </pc:sldMkLst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483869759" sldId="278"/>
        </pc:sldMkLst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275034731" sldId="279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1603335983" sldId="279"/>
        </pc:sldMkLst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771274481" sldId="280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1846839765" sldId="280"/>
        </pc:sldMkLst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1910191044" sldId="281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2633492551" sldId="281"/>
        </pc:sldMkLst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1645246890" sldId="282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3635687887" sldId="282"/>
        </pc:sldMkLst>
      </pc:sldChg>
      <pc:sldChg chg="modSp add del mod modAnim">
        <pc:chgData name="Ismayeel Syed" userId="ce5934cc-f5d7-4e89-9253-f9097791f564" providerId="ADAL" clId="{D9C879D9-DAC2-463C-878B-4E50A667545F}" dt="2026-03-23T16:49:37.868" v="456" actId="47"/>
        <pc:sldMkLst>
          <pc:docMk/>
          <pc:sldMk cId="2511803465" sldId="283"/>
        </pc:sldMkLst>
        <pc:spChg chg="mod">
          <ac:chgData name="Ismayeel Syed" userId="ce5934cc-f5d7-4e89-9253-f9097791f564" providerId="ADAL" clId="{D9C879D9-DAC2-463C-878B-4E50A667545F}" dt="2026-03-22T17:38:55.135" v="451" actId="108"/>
          <ac:spMkLst>
            <pc:docMk/>
            <pc:sldMk cId="2511803465" sldId="283"/>
            <ac:spMk id="3" creationId="{F84E68CC-8589-9AB5-7663-D13719777D8C}"/>
          </ac:spMkLst>
        </pc:spChg>
      </pc:sldChg>
      <pc:sldChg chg="del">
        <pc:chgData name="Ismayeel Syed" userId="ce5934cc-f5d7-4e89-9253-f9097791f564" providerId="ADAL" clId="{D9C879D9-DAC2-463C-878B-4E50A667545F}" dt="2026-03-22T17:16:27.707" v="281" actId="47"/>
        <pc:sldMkLst>
          <pc:docMk/>
          <pc:sldMk cId="3596861939" sldId="283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0" sldId="285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1151713060" sldId="285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0" sldId="286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1818863922" sldId="286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0" sldId="287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783933475" sldId="287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0" sldId="288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483869759" sldId="288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0" sldId="289"/>
        </pc:sldMkLst>
      </pc:sldChg>
      <pc:sldChg chg="add del">
        <pc:chgData name="Ismayeel Syed" userId="ce5934cc-f5d7-4e89-9253-f9097791f564" providerId="ADAL" clId="{D9C879D9-DAC2-463C-878B-4E50A667545F}" dt="2026-03-22T17:17:10.044" v="284"/>
        <pc:sldMkLst>
          <pc:docMk/>
          <pc:sldMk cId="275034731" sldId="289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0" sldId="290"/>
        </pc:sldMkLst>
      </pc:sldChg>
      <pc:sldChg chg="add del modAnim">
        <pc:chgData name="Ismayeel Syed" userId="ce5934cc-f5d7-4e89-9253-f9097791f564" providerId="ADAL" clId="{D9C879D9-DAC2-463C-878B-4E50A667545F}" dt="2026-03-22T17:40:02.419" v="453"/>
        <pc:sldMkLst>
          <pc:docMk/>
          <pc:sldMk cId="142271944" sldId="290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0" sldId="291"/>
        </pc:sldMkLst>
      </pc:sldChg>
      <pc:sldChg chg="add">
        <pc:chgData name="Ismayeel Syed" userId="ce5934cc-f5d7-4e89-9253-f9097791f564" providerId="ADAL" clId="{D9C879D9-DAC2-463C-878B-4E50A667545F}" dt="2026-03-22T17:19:50.343" v="285"/>
        <pc:sldMkLst>
          <pc:docMk/>
          <pc:sldMk cId="2451629758" sldId="291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0" sldId="292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0" sldId="293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3871885768" sldId="294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1294270022" sldId="295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1632274212" sldId="296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3810078207" sldId="297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3930213205" sldId="298"/>
        </pc:sldMkLst>
      </pc:sldChg>
      <pc:sldChg chg="del">
        <pc:chgData name="Ismayeel Syed" userId="ce5934cc-f5d7-4e89-9253-f9097791f564" providerId="ADAL" clId="{D9C879D9-DAC2-463C-878B-4E50A667545F}" dt="2026-03-22T17:16:01.066" v="280" actId="47"/>
        <pc:sldMkLst>
          <pc:docMk/>
          <pc:sldMk cId="443834442" sldId="299"/>
        </pc:sldMkLst>
      </pc:sldChg>
      <pc:sldMasterChg chg="del delSldLayout">
        <pc:chgData name="Ismayeel Syed" userId="ce5934cc-f5d7-4e89-9253-f9097791f564" providerId="ADAL" clId="{D9C879D9-DAC2-463C-878B-4E50A667545F}" dt="2026-03-22T17:16:27.707" v="281" actId="47"/>
        <pc:sldMasterMkLst>
          <pc:docMk/>
          <pc:sldMasterMk cId="2964175868" sldId="2147483660"/>
        </pc:sldMasterMkLst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3153956258" sldId="2147483661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482218588" sldId="2147483662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1335249430" sldId="2147483663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2601331111" sldId="2147483664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505750891" sldId="2147483665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4044067888" sldId="2147483666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1181879887" sldId="2147483667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3949818913" sldId="2147483668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3015097742" sldId="2147483669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1579194119" sldId="2147483670"/>
          </pc:sldLayoutMkLst>
        </pc:sldLayoutChg>
        <pc:sldLayoutChg chg="del">
          <pc:chgData name="Ismayeel Syed" userId="ce5934cc-f5d7-4e89-9253-f9097791f564" providerId="ADAL" clId="{D9C879D9-DAC2-463C-878B-4E50A667545F}" dt="2026-03-22T17:16:27.707" v="281" actId="47"/>
          <pc:sldLayoutMkLst>
            <pc:docMk/>
            <pc:sldMasterMk cId="2964175868" sldId="2147483660"/>
            <pc:sldLayoutMk cId="4145602761" sldId="2147483671"/>
          </pc:sldLayoutMkLst>
        </pc:sldLayoutChg>
      </pc:sldMasterChg>
      <pc:sldMasterChg chg="del delSldLayout">
        <pc:chgData name="Ismayeel Syed" userId="ce5934cc-f5d7-4e89-9253-f9097791f564" providerId="ADAL" clId="{D9C879D9-DAC2-463C-878B-4E50A667545F}" dt="2026-03-22T17:16:01.066" v="280" actId="47"/>
        <pc:sldMasterMkLst>
          <pc:docMk/>
          <pc:sldMasterMk cId="4125437946" sldId="2147483672"/>
        </pc:sldMasterMkLst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1562449367" sldId="2147483673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568473208" sldId="2147483674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151987267" sldId="2147483675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1764045905" sldId="2147483676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781808690" sldId="2147483677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73011704" sldId="2147483678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2484745677" sldId="2147483679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2171417958" sldId="2147483680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3133662245" sldId="2147483681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2647685905" sldId="2147483682"/>
          </pc:sldLayoutMkLst>
        </pc:sldLayoutChg>
        <pc:sldLayoutChg chg="del">
          <pc:chgData name="Ismayeel Syed" userId="ce5934cc-f5d7-4e89-9253-f9097791f564" providerId="ADAL" clId="{D9C879D9-DAC2-463C-878B-4E50A667545F}" dt="2026-03-22T17:16:01.066" v="280" actId="47"/>
          <pc:sldLayoutMkLst>
            <pc:docMk/>
            <pc:sldMasterMk cId="4125437946" sldId="2147483672"/>
            <pc:sldLayoutMk cId="2956847119" sldId="2147483683"/>
          </pc:sldLayoutMkLst>
        </pc:sldLayoutChg>
      </pc:sldMasterChg>
    </pc:docChg>
  </pc:docChgLst>
</pc:chgInfo>
</file>

<file path=ppt/comments/modernComment_107_3B14C34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F1DB69E-6AA4-4C6B-8766-88A3C411DEB2}" authorId="{2ABC4800-AC70-D95E-CB44-A683EDD44AF7}" created="2025-03-24T17:20:53.46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991216458" sldId="263"/>
      <ac:spMk id="10" creationId="{718F3261-C9BA-0C4E-0AF2-648DDB761E0E}"/>
    </ac:deMkLst>
    <p188:txBody>
      <a:bodyPr/>
      <a:lstStyle/>
      <a:p>
        <a:r>
          <a:rPr lang="en-GB"/>
          <a:t>Make part of table</a:t>
        </a:r>
      </a:p>
    </p188:txBody>
  </p188:cm>
</p188:cmLst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77F84-1D8B-01CA-59F3-9EAD2323EE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B3BFE5-B8AE-006B-342E-B3117C9287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5A53D6-39B8-8435-9FC0-B62DCC27DC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24B918-DC8C-0162-125E-E83B87205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6A39AE-A74C-8466-BE3A-8EA45AEA2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8749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38E19-0F84-2178-0B6B-AE6F3B546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D0B0A0-D8FD-768D-6FD0-DBB4301D80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3852E1-A4E1-BE96-D5F9-81EC4CA37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F6CE2C-21E3-E8E1-8375-51A272833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68B80D-98AD-C1E1-1DDE-CCDE3DD97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4233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2F1D89-5796-772F-D73F-58316F913D8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4007DB-D5AC-A181-EA8C-25ADB7F4FC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6A4AFB-ADA2-009F-38C9-D8C3F4A0F1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A3D28-A08C-EA4C-E9B4-7C56F515D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1AB5B7-A85E-51F5-247D-7637D89AC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6702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BC36E3-1314-BEAA-B82F-3401CC29DA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F90D0E-FF89-C546-6E84-1884B6CA61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69DF8B-DD5D-1B82-6672-4C33B9E78F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28D1E9-3E4F-7600-6132-3D27DC554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74B5B4-4F85-6E8E-FEFE-C7BEC52AB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956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3DD82-3BCE-2FA7-1BF7-4372AB5DA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EF7046-C641-394A-0383-D0C077AB91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C02F78-8A7D-765C-B7F5-827613C8E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0A1EA7-33C6-810E-6ED9-9A58F4A5F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A4A46D-0318-6935-2568-94815944D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22185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CCAF6-4794-AFEF-D760-5828620BF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0C48C4-5A73-9D1D-5714-F7ECA46B65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D63C10-6B7A-907F-0C9D-196FA4502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2DC458-296A-4BFC-C492-1A28E5D68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F2EFF7-5E13-E16F-23CB-792E10130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2494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2E0C6-148F-F95E-E96C-209703E2ED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FEEA36-2164-6F17-AEF7-227A7C39E8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FC6605-D517-7727-AAF2-CECFD4FD8B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3028CC-9B64-E3E8-A8C2-4E54F6EFAC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9E5D71-4389-4FC3-4FC5-02007656A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FB42D9-F28D-F971-5036-016B1AB5F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331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6F1E8-56EF-720B-5345-946F73B4F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11ABD5-53CE-A315-CAE8-F15B3E051D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719D6F-1991-402F-90C6-0D6750FCCB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F9C0AC-23B9-45FA-CE18-4DC6EC4CD4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6B16A9-A57D-4657-2A47-1F322A1DE9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6EA2A11-9E10-99D1-2CD7-AE22FEBE0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E8B643F-C6F7-6A21-035C-606C995F6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4BFDB0A-90A4-B478-BEB0-2F5330E4D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57508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63900-04FB-2E48-E286-AA8A99979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7E61C2-1AC1-3D60-FD79-01CB7C8AC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24285D-936E-34E2-2E3A-3F7C9D5D0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15A9F6-791F-7A73-B690-D606CD5E4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40678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9B194C-2323-E88F-92AE-7832F45957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2E813E-7C11-36D0-2126-2811BBB49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B9D74B-D7CA-FFEC-99BE-0F9335AD3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1879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A41E0-4228-1504-5C13-66B71D96C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6DC029-A075-741E-E245-37BCA00723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E43131-A425-D864-6098-5C8AEC1D7B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3D2926-64DA-6898-0BDE-BA980D9D1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C8433E-CE0E-A991-408A-3899DDEAB6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E877AA-DF33-EB31-2599-0EEAA5E460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98189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18515-8C8F-908B-F19D-4D01C7C72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1FEBA4-2A01-10A6-F27E-F883975E8F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329AC2-3094-F311-0361-7F0CBBFFD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D7C78B-DA03-FEE2-CBCB-B89F0AECD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3A8241-5522-FF77-2542-6673EDCFE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8784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5E04E-A6CC-D0DB-9974-314E3EFB4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1D781C-9E91-E252-62F0-A29E36EB8A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72E2D7-F1CF-C5B2-4134-019341800C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5BC9FE-A8B5-7F3A-6B48-B930339A9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639BC7-A1F1-6BA6-C3ED-043347CBA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AE8478-5651-8890-F49D-1B8205EC0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0977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D724E6-1F2E-68DC-B091-7140990E7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B95E17-64DA-91E9-BC6B-3EEDCDE283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EE1AF0-7D32-50E9-E689-BDDC41435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3B71AE-6181-39F9-3953-A96D47899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39C21B-A0AA-F82C-85BD-96E0E68A9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91941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C15685-4893-981B-146C-0729CBC6FF0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7FF6DD-76A3-5EAC-1B30-962A4851AA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7C30E3-4550-DB41-C92A-FCE9F564F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57BAF5-B8B3-DEA1-8FE8-61513F47A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0AE3F6-8BA7-772A-438C-4463F114B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5602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4493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4732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2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0459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086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117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7456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F1F23-ACBC-7730-62AD-1F0E57B9D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883F71-6E71-E491-E75A-6D11E2027A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D83807-B683-34BF-868A-A7BE0980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587492-E409-5585-D04A-31635CFEE8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8216D0-60AF-1458-6D37-257C8B1C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30825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4179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6622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859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8471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A63660-73E7-4CD7-6133-AEDF7DE9E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44BAF6-6981-014A-5C67-3C6D6073B5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F01DDF-F1D0-78E4-D0E1-BEBDF9EA3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73CD49-D208-B90B-140B-5AE51230C5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925A50-6E63-DDF0-D16F-1A89399F31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DB2CA9-6A69-59E8-AB1F-6FB8B6071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08823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FF8A72-7772-C04B-ECBC-A2CFDE12E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C6F507-B7CE-BF01-75C0-858DC7C50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80BB84-F46A-A32C-A22F-6401B74EBE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33119A-8A2B-5440-E56D-943DF961EC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38FE96-986F-F0AA-E7DF-B12C8415D1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A6D26A2-DE22-6A96-B668-C2B5E0D21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BA625F6-0512-42A3-15EB-43C0F9B67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A72A62-E27B-EC34-3EC9-09DC9BBA5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2536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C7AD9-BECF-20B7-10BA-CC323CE2C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A7D5B8-7D82-CCD8-6C48-744906099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C0C180-9E41-EF83-B062-4CED58C95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67365B-030D-783A-A278-01F80B4FC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8875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75F1D3-820F-4CB9-CCFE-F2B370E49F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4C3DFD-52EC-ACE6-C52F-1C83D00A6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C3CFE-ABA7-3B2D-95EC-EC0A42913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788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A5BA5-97B5-88CE-6C16-66D02A7F9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66613C-DE94-92DF-DB4E-41BDF37B8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EFFE43-32C7-8DCD-EA68-3048E45FA0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1A4BA2-11CD-E15E-B946-9EB483628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9A322F-5C39-0954-B8CC-6ADDA14B7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ED662E-2E25-023C-4C36-5A44DAE83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73324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FF49C-C9DC-E1D5-C782-EA0C11A28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1E6F084-D483-9558-8F77-BEAF61FB2B6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EF2D62-69E5-C0EB-049A-85A49006E3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A455BE-A6CC-CF1F-5B13-25BC4ADA4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968FEE-F0B2-0DCB-A929-3BD66CCE4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2F653B-D694-6858-4703-3B61EAA54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26991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10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5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326946D-F480-E42D-7BF6-C7A38CFB9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1F0D1-AAAA-8ECE-A6CB-0088106DFC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EF2DE9-2EEC-F807-9C00-CF8E9610A1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E31C9E-3F0F-4E07-A9AF-686E09F32055}" type="datetimeFigureOut">
              <a:rPr lang="en-GB" smtClean="0"/>
              <a:t>23/03/20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032747-0314-6A62-1804-D5506D0D4B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4F1C1F-DEAA-BA0A-7386-DB8C5EA516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5C5109-3D5C-4371-B3CC-329AD58AF0A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4890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55202D9-A47B-B24B-6F6A-008BF79FBD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93948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5202D9-A47B-B24B-6F6A-008BF79FBD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7747DD-AED1-81CF-27D2-F802793A7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D372D5-79DF-C47A-6E5C-634FAA718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4B929B-D4BE-31FF-E106-7B21DD466B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1C18A1-F940-4D40-8F63-4F80EF3B0EBD}" type="datetimeFigureOut">
              <a:rPr lang="en-GB" smtClean="0"/>
              <a:t>09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5EE446-BD0A-6E97-550F-A397E1B4F5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FD8721-2403-C8A3-24DF-BB5E84285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0D8361-F030-4230-85B7-05760FC9D1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4175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3/9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437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slide" Target="slide290.xml"/><Relationship Id="rId3" Type="http://schemas.openxmlformats.org/officeDocument/2006/relationships/image" Target="../media/image2.png"/><Relationship Id="rId7" Type="http://schemas.openxmlformats.org/officeDocument/2006/relationships/slide" Target="slide3.xml"/><Relationship Id="rId12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11" Type="http://schemas.openxmlformats.org/officeDocument/2006/relationships/image" Target="../media/image5.png"/><Relationship Id="rId5" Type="http://schemas.openxmlformats.org/officeDocument/2006/relationships/image" Target="../media/image36.png"/><Relationship Id="rId10" Type="http://schemas.openxmlformats.org/officeDocument/2006/relationships/slide" Target="slide90.xml"/><Relationship Id="rId4" Type="http://schemas.openxmlformats.org/officeDocument/2006/relationships/slide" Target="slide2.xml"/><Relationship Id="rId9" Type="http://schemas.openxmlformats.org/officeDocument/2006/relationships/image" Target="../media/image4.png"/><Relationship Id="rId14" Type="http://schemas.openxmlformats.org/officeDocument/2006/relationships/image" Target="../media/image6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3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microsoft.com/office/2018/10/relationships/comments" Target="../comments/modernComment_107_3B14C34A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20.png"/><Relationship Id="rId4" Type="http://schemas.openxmlformats.org/officeDocument/2006/relationships/image" Target="../media/image1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21.png"/><Relationship Id="rId4" Type="http://schemas.openxmlformats.org/officeDocument/2006/relationships/image" Target="../media/image13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2.png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23.png"/><Relationship Id="rId4" Type="http://schemas.openxmlformats.org/officeDocument/2006/relationships/image" Target="../media/image13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4.png"/><Relationship Id="rId4" Type="http://schemas.openxmlformats.org/officeDocument/2006/relationships/image" Target="../media/image13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5.png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13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3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3.emf"/></Relationships>
</file>

<file path=ppt/slides/_rels/slide29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5" Type="http://schemas.openxmlformats.org/officeDocument/2006/relationships/image" Target="../media/image9.png"/><Relationship Id="rId4" Type="http://schemas.openxmlformats.org/officeDocument/2006/relationships/image" Target="../media/image8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8.png"/><Relationship Id="rId5" Type="http://schemas.openxmlformats.org/officeDocument/2006/relationships/hyperlink" Target="https://www.welhat.gov.uk/ourlocalplan" TargetMode="External"/><Relationship Id="rId4" Type="http://schemas.openxmlformats.org/officeDocument/2006/relationships/image" Target="../media/image13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hyperlink" Target="https://welwynhatfieldlocalplan.commonplace.is/en-GB/proposals/early-engagement-key-themes/step1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3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31.png"/><Relationship Id="rId5" Type="http://schemas.openxmlformats.org/officeDocument/2006/relationships/image" Target="../media/image1.png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1.png"/><Relationship Id="rId4" Type="http://schemas.openxmlformats.org/officeDocument/2006/relationships/image" Target="../media/image13.emf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Relationship Id="rId5" Type="http://schemas.openxmlformats.org/officeDocument/2006/relationships/image" Target="../media/image1.png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47B71A4-5751-D824-6E99-2DA03D9901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39AEE15-C213-4AD4-7305-8669F77D27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61" y="497842"/>
            <a:ext cx="11167079" cy="2864472"/>
          </a:xfrm>
          <a:prstGeom prst="rect">
            <a:avLst/>
          </a:prstGeom>
        </p:spPr>
      </p:pic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" name="Section Zoom 2">
                <a:extLst>
                  <a:ext uri="{FF2B5EF4-FFF2-40B4-BE49-F238E27FC236}">
                    <a16:creationId xmlns:a16="http://schemas.microsoft.com/office/drawing/2014/main" id="{A867341A-59A7-396E-5A18-D3824C9099B8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62371" y="4092615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D925A667-4718-4124-BBF8-269FB5CCF812}">
                    <psez:zmPr id="{8102E31C-7443-4B88-90CE-4857E6537FE0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ound2DiagRect">
                          <a:avLst>
                            <a:gd name="adj1" fmla="val 16667"/>
                            <a:gd name="adj2" fmla="val 0"/>
                          </a:avLst>
                        </a:prstGeom>
                        <a:ln w="88900" cap="sq">
                          <a:solidFill>
                            <a:srgbClr val="FFFFFF"/>
                          </a:solidFill>
                          <a:miter lim="800000"/>
                        </a:ln>
                        <a:effectLst>
                          <a:outerShdw blurRad="254000" algn="tl" rotWithShape="0">
                            <a:srgbClr val="000000">
                              <a:alpha val="43000"/>
                            </a:srgb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" name="Section Zoom 2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A867341A-59A7-396E-5A18-D3824C9099B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2371" y="4092615"/>
                <a:ext cx="3048000" cy="1714500"/>
              </a:xfrm>
              <a:prstGeom prst="round2DiagRect">
                <a:avLst>
                  <a:gd name="adj1" fmla="val 16667"/>
                  <a:gd name="adj2" fmla="val 0"/>
                </a:avLst>
              </a:prstGeom>
              <a:ln w="88900" cap="sq">
                <a:solidFill>
                  <a:srgbClr val="FFFFFF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" name="Section Zoom 4">
                <a:extLst>
                  <a:ext uri="{FF2B5EF4-FFF2-40B4-BE49-F238E27FC236}">
                    <a16:creationId xmlns:a16="http://schemas.microsoft.com/office/drawing/2014/main" id="{83673975-92E8-E25D-ABE6-6DB248DBF1CF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464312" y="4092615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BF48E9C5-A89F-4BD3-BEB8-50F91C158048}">
                    <psez:zmPr id="{03C90EED-4704-4BB3-8E1B-A13041498E7C}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ound2DiagRect">
                          <a:avLst>
                            <a:gd name="adj1" fmla="val 16667"/>
                            <a:gd name="adj2" fmla="val 0"/>
                          </a:avLst>
                        </a:prstGeom>
                        <a:ln w="88900" cap="sq">
                          <a:solidFill>
                            <a:srgbClr val="FFFFFF"/>
                          </a:solidFill>
                          <a:miter lim="800000"/>
                        </a:ln>
                        <a:effectLst>
                          <a:outerShdw blurRad="254000" algn="tl" rotWithShape="0">
                            <a:srgbClr val="000000">
                              <a:alpha val="43000"/>
                            </a:srgb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" name="Section Zoom 4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83673975-92E8-E25D-ABE6-6DB248DBF1C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464312" y="4092615"/>
                <a:ext cx="3048000" cy="1714500"/>
              </a:xfrm>
              <a:prstGeom prst="round2DiagRect">
                <a:avLst>
                  <a:gd name="adj1" fmla="val 16667"/>
                  <a:gd name="adj2" fmla="val 0"/>
                </a:avLst>
              </a:prstGeom>
              <a:ln w="88900" cap="sq">
                <a:solidFill>
                  <a:srgbClr val="FFFFFF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8" name="Section Zoom 7">
                <a:extLst>
                  <a:ext uri="{FF2B5EF4-FFF2-40B4-BE49-F238E27FC236}">
                    <a16:creationId xmlns:a16="http://schemas.microsoft.com/office/drawing/2014/main" id="{919CF80C-D332-AE75-7460-53CC60ED9B3F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8266253" y="4023891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37A2381A-6817-4DFE-8045-BEECC13AD42A}">
                    <psez:zmPr id="{8B4F04DE-29FB-4582-9A34-4EF0FE3D91E9}" transitionDur="100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ound2DiagRect">
                          <a:avLst>
                            <a:gd name="adj1" fmla="val 16667"/>
                            <a:gd name="adj2" fmla="val 0"/>
                          </a:avLst>
                        </a:prstGeom>
                        <a:ln w="88900" cap="sq">
                          <a:solidFill>
                            <a:srgbClr val="FFFFFF"/>
                          </a:solidFill>
                          <a:miter lim="800000"/>
                        </a:ln>
                        <a:effectLst>
                          <a:outerShdw blurRad="254000" algn="tl" rotWithShape="0">
                            <a:srgbClr val="000000">
                              <a:alpha val="43000"/>
                            </a:srgb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8" name="Section Zoom 7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919CF80C-D332-AE75-7460-53CC60ED9B3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266253" y="4023891"/>
                <a:ext cx="3048000" cy="1714500"/>
              </a:xfrm>
              <a:prstGeom prst="round2DiagRect">
                <a:avLst>
                  <a:gd name="adj1" fmla="val 16667"/>
                  <a:gd name="adj2" fmla="val 0"/>
                </a:avLst>
              </a:prstGeom>
              <a:ln w="88900" cap="sq">
                <a:solidFill>
                  <a:srgbClr val="FFFFFF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" name="Section Zoom 3">
                <a:extLst>
                  <a:ext uri="{FF2B5EF4-FFF2-40B4-BE49-F238E27FC236}">
                    <a16:creationId xmlns:a16="http://schemas.microsoft.com/office/drawing/2014/main" id="{1109E585-1FB1-1C23-31C9-7FB5C94A1C7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49215496"/>
                  </p:ext>
                </p:extLst>
              </p:nvPr>
            </p:nvGraphicFramePr>
            <p:xfrm>
              <a:off x="11651188" y="6553793"/>
              <a:ext cx="540812" cy="304207"/>
            </p:xfrm>
            <a:graphic>
              <a:graphicData uri="http://schemas.microsoft.com/office/powerpoint/2016/sectionzoom">
                <psez:sectionZm>
                  <psez:sectionZmObj sectionId="{E3A71334-1D89-4A77-9B11-F5B198BBCB16}">
                    <psez:zmPr id="{35183D28-2C84-4C64-9D74-86E83150C8A0}" transitionDur="100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40812" cy="304207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" name="Section Zoom 3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1109E585-1FB1-1C23-31C9-7FB5C94A1C7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1651188" y="6553793"/>
                <a:ext cx="540812" cy="304207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10086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D9E885F-9C9F-4EC8-24F1-F9B5B98B5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9E885F-9C9F-4EC8-24F1-F9B5B98B5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89EE82-278E-6958-4669-1CFFD4832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16827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GB" sz="4800" b="1" dirty="0"/>
              <a:t>Welwyn Hatfield Local Plan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B29C69EC-4303-9162-C885-A4C023CBC9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7869807" y="603053"/>
            <a:ext cx="4011043" cy="5889822"/>
          </a:xfr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A43F4C9-3E1F-AC5B-500D-ACE4F5D28B81}"/>
              </a:ext>
            </a:extLst>
          </p:cNvPr>
          <p:cNvSpPr txBox="1"/>
          <p:nvPr/>
        </p:nvSpPr>
        <p:spPr>
          <a:xfrm>
            <a:off x="311150" y="1368395"/>
            <a:ext cx="7499350" cy="50167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 began in 2009: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ok 14 years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pted by Council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ct 2023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Shortfall in housing so required</a:t>
            </a:r>
            <a:b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</a:b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new plan to be submitted by</a:t>
            </a:r>
            <a:b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</a:b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Oct</a:t>
            </a:r>
            <a:r>
              <a:rPr lang="en-GB" sz="4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o</a:t>
            </a:r>
            <a:r>
              <a:rPr kumimoji="0" lang="en-GB" sz="4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ber</a:t>
            </a: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 2026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New plan out for consultation</a:t>
            </a:r>
          </a:p>
        </p:txBody>
      </p:sp>
    </p:spTree>
    <p:extLst>
      <p:ext uri="{BB962C8B-B14F-4D97-AF65-F5344CB8AC3E}">
        <p14:creationId xmlns:p14="http://schemas.microsoft.com/office/powerpoint/2010/main" val="48402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583B40-602F-74E0-6120-CDEB0FB866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583B40-602F-74E0-6120-CDEB0FB86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46E7FA-CE00-B6E8-21CD-9CC61884D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2" y="0"/>
            <a:ext cx="11839072" cy="1325563"/>
          </a:xfrm>
        </p:spPr>
        <p:txBody>
          <a:bodyPr vert="horz">
            <a:normAutofit/>
          </a:bodyPr>
          <a:lstStyle/>
          <a:p>
            <a:r>
              <a:rPr lang="en-GB" sz="4800" b="1" dirty="0"/>
              <a:t>Local Plan Review – public consul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82532B-A702-1524-7C9D-8E017A64F7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296" y="1129644"/>
            <a:ext cx="11967408" cy="5399425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GB" sz="6400" dirty="0"/>
              <a:t>Plan needs to address shortfall and plan for 840 homes per annum </a:t>
            </a:r>
            <a:endParaRPr lang="en-US" sz="6400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GB" sz="6400" dirty="0"/>
              <a:t>Allow for 10% population increase 2024-2043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GB" sz="6400" dirty="0"/>
              <a:t>The plan needs to identify sites for 16,000 new dwellings</a:t>
            </a:r>
            <a:endParaRPr lang="en-GB" sz="6400" dirty="0">
              <a:ea typeface="Calibri"/>
              <a:cs typeface="Calibri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GB" sz="6400" dirty="0"/>
              <a:t>Existing permissions and allocations provide for 10,000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GB" sz="6400" dirty="0"/>
              <a:t>This plan has to decide where remaining 6,000 go by October 202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1713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0B5C61C-A869-B0C8-906D-365F3DBF74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3EEF80-86E4-037D-0519-0105D7D61D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3EEF80-86E4-037D-0519-0105D7D61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C4F845-30F7-8AD5-32ED-E7BE8F790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2" y="0"/>
            <a:ext cx="11839072" cy="1325563"/>
          </a:xfrm>
        </p:spPr>
        <p:txBody>
          <a:bodyPr vert="horz">
            <a:normAutofit/>
          </a:bodyPr>
          <a:lstStyle/>
          <a:p>
            <a:r>
              <a:rPr lang="en-GB" sz="4800" b="1" dirty="0"/>
              <a:t>Existing allocations: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9B554A25-BC12-16E0-F6A7-36102DA6CE0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40631" y="1249362"/>
          <a:ext cx="11741880" cy="4694241"/>
        </p:xfrm>
        <a:graphic>
          <a:graphicData uri="http://schemas.openxmlformats.org/drawingml/2006/table">
            <a:tbl>
              <a:tblPr firstRow="1" firstCol="1" bandRow="1"/>
              <a:tblGrid>
                <a:gridCol w="1807135">
                  <a:extLst>
                    <a:ext uri="{9D8B030D-6E8A-4147-A177-3AD203B41FA5}">
                      <a16:colId xmlns:a16="http://schemas.microsoft.com/office/drawing/2014/main" val="1033784472"/>
                    </a:ext>
                  </a:extLst>
                </a:gridCol>
                <a:gridCol w="7943478">
                  <a:extLst>
                    <a:ext uri="{9D8B030D-6E8A-4147-A177-3AD203B41FA5}">
                      <a16:colId xmlns:a16="http://schemas.microsoft.com/office/drawing/2014/main" val="738624428"/>
                    </a:ext>
                  </a:extLst>
                </a:gridCol>
                <a:gridCol w="1991267">
                  <a:extLst>
                    <a:ext uri="{9D8B030D-6E8A-4147-A177-3AD203B41FA5}">
                      <a16:colId xmlns:a16="http://schemas.microsoft.com/office/drawing/2014/main" val="2782753281"/>
                    </a:ext>
                  </a:extLst>
                </a:gridCol>
              </a:tblGrid>
              <a:tr h="4559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Ref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D83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ite name</a:t>
                      </a:r>
                      <a:endParaRPr lang="en-GB" sz="2900" dirty="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D83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wellings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D8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223431"/>
                  </a:ext>
                </a:extLst>
              </a:tr>
              <a:tr h="4559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DS 7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Marshmoor Welham Green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352743"/>
                  </a:ext>
                </a:extLst>
              </a:tr>
              <a:tr h="4559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S 44/45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Land south of Welham Manor and west of station road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2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5386344"/>
                  </a:ext>
                </a:extLst>
              </a:tr>
              <a:tr h="4559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S 46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ixons Hill Road, Welham Green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20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1410292"/>
                  </a:ext>
                </a:extLst>
              </a:tr>
              <a:tr h="4559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S 21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Land west of Golf Club Road, Brookmans Park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4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410141"/>
                  </a:ext>
                </a:extLst>
              </a:tr>
              <a:tr h="4559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S 23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Land east of Golf Club Road, Brookmans Park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565810"/>
                  </a:ext>
                </a:extLst>
              </a:tr>
              <a:tr h="4559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S 22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Land west of Brookmans Park station.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28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5557044"/>
                  </a:ext>
                </a:extLst>
              </a:tr>
              <a:tr h="4559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S 25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Land north of Hawkshead Road, Little Heath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4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1535601"/>
                  </a:ext>
                </a:extLst>
              </a:tr>
              <a:tr h="4559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S 47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Part of Studlands/Videne, Little Heath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1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7379075"/>
                  </a:ext>
                </a:extLst>
              </a:tr>
              <a:tr h="590565">
                <a:tc gridSpan="2"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otal</a:t>
                      </a:r>
                      <a:endParaRPr lang="en-GB" sz="29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06201" marR="106201" marT="53100" marB="531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39</a:t>
                      </a:r>
                      <a:endParaRPr lang="en-GB" sz="2900" dirty="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147" marR="1641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21121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3335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7028C94-E6DC-93AB-AE1D-3F1F53DDD2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181A962-3316-726E-AC6E-760BE0BC02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81A962-3316-726E-AC6E-760BE0BC02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32A83A-9A7D-D82D-ABC9-3966B7492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2" y="114300"/>
            <a:ext cx="11839072" cy="1325563"/>
          </a:xfrm>
        </p:spPr>
        <p:txBody>
          <a:bodyPr vert="horz">
            <a:noAutofit/>
          </a:bodyPr>
          <a:lstStyle/>
          <a:p>
            <a:r>
              <a:rPr lang="en-GB" sz="4800" b="1" dirty="0"/>
              <a:t>New potential site allocations being considered</a:t>
            </a:r>
            <a:br>
              <a:rPr lang="en-GB" sz="4800" b="1" dirty="0"/>
            </a:br>
            <a:r>
              <a:rPr lang="en-GB" sz="4800" b="1" dirty="0"/>
              <a:t>(All Green Belt Sites):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D8F425F8-5A50-0CBE-3831-4AE0120C734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28290" y="1550194"/>
          <a:ext cx="11335419" cy="4685509"/>
        </p:xfrm>
        <a:graphic>
          <a:graphicData uri="http://schemas.openxmlformats.org/drawingml/2006/table">
            <a:tbl>
              <a:tblPr firstRow="1" firstCol="1" bandRow="1"/>
              <a:tblGrid>
                <a:gridCol w="1808719">
                  <a:extLst>
                    <a:ext uri="{9D8B030D-6E8A-4147-A177-3AD203B41FA5}">
                      <a16:colId xmlns:a16="http://schemas.microsoft.com/office/drawing/2014/main" val="400141079"/>
                    </a:ext>
                  </a:extLst>
                </a:gridCol>
                <a:gridCol w="7508276">
                  <a:extLst>
                    <a:ext uri="{9D8B030D-6E8A-4147-A177-3AD203B41FA5}">
                      <a16:colId xmlns:a16="http://schemas.microsoft.com/office/drawing/2014/main" val="1988401612"/>
                    </a:ext>
                  </a:extLst>
                </a:gridCol>
                <a:gridCol w="2018424">
                  <a:extLst>
                    <a:ext uri="{9D8B030D-6E8A-4147-A177-3AD203B41FA5}">
                      <a16:colId xmlns:a16="http://schemas.microsoft.com/office/drawing/2014/main" val="1627004917"/>
                    </a:ext>
                  </a:extLst>
                </a:gridCol>
              </a:tblGrid>
              <a:tr h="4563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Ref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D83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ite name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D83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wellings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D8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4400062"/>
                  </a:ext>
                </a:extLst>
              </a:tr>
              <a:tr h="4563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38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rookmans Park- Land North of Bradmore Way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40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3677"/>
                  </a:ext>
                </a:extLst>
              </a:tr>
              <a:tr h="4563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86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rookmans Park- Potterells Farm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5706136"/>
                  </a:ext>
                </a:extLst>
              </a:tr>
              <a:tr h="4563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89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rookmans Park- Potterells Farm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50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17911"/>
                  </a:ext>
                </a:extLst>
              </a:tr>
              <a:tr h="4563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7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Little Heath- Swanley Bar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0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41360"/>
                  </a:ext>
                </a:extLst>
              </a:tr>
              <a:tr h="4563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1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Welham Green- Barnbeth 24 Station Road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914661"/>
                  </a:ext>
                </a:extLst>
              </a:tr>
              <a:tr h="4563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4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Welham Green- Land South of Bulls Lane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0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5779235"/>
                  </a:ext>
                </a:extLst>
              </a:tr>
              <a:tr h="4563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66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Welham Green- Land North of Pooleys Lane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0</a:t>
                      </a:r>
                      <a:endParaRPr lang="en-GB" sz="2800" dirty="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4417500"/>
                  </a:ext>
                </a:extLst>
              </a:tr>
              <a:tr h="45636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5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Little Heath- Leggatts Park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65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9677499"/>
                  </a:ext>
                </a:extLst>
              </a:tr>
              <a:tr h="578233">
                <a:tc gridSpan="2"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otal</a:t>
                      </a:r>
                      <a:endParaRPr lang="en-GB" sz="28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07754" marR="107754" marT="53877" marB="538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72</a:t>
                      </a:r>
                      <a:endParaRPr lang="en-GB" sz="2800" dirty="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64290" marR="1642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5417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6839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2D7AD7-46E1-9835-580D-9CA563CD41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61F0E8F-937B-1CB8-4763-6BA2E00777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1F0E8F-937B-1CB8-4763-6BA2E00777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5EC5F4-B01E-160E-BF56-4B7F213FC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2" y="114300"/>
            <a:ext cx="11839072" cy="1325563"/>
          </a:xfrm>
        </p:spPr>
        <p:txBody>
          <a:bodyPr vert="horz">
            <a:noAutofit/>
          </a:bodyPr>
          <a:lstStyle/>
          <a:p>
            <a:r>
              <a:rPr lang="en-GB" sz="4800" b="1" dirty="0"/>
              <a:t>Schedule of reasonable alternative sites</a:t>
            </a:r>
            <a:br>
              <a:rPr lang="en-GB" sz="4800" b="1" dirty="0"/>
            </a:br>
            <a:r>
              <a:rPr lang="en-GB" sz="4800" b="1" dirty="0"/>
              <a:t>(not included at this time):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5B0A186-A5EC-D737-2E87-AA179F53C80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67632" y="1490513"/>
          <a:ext cx="10954418" cy="5079470"/>
        </p:xfrm>
        <a:graphic>
          <a:graphicData uri="http://schemas.openxmlformats.org/drawingml/2006/table">
            <a:tbl>
              <a:tblPr firstRow="1" firstCol="1" bandRow="1"/>
              <a:tblGrid>
                <a:gridCol w="1636912">
                  <a:extLst>
                    <a:ext uri="{9D8B030D-6E8A-4147-A177-3AD203B41FA5}">
                      <a16:colId xmlns:a16="http://schemas.microsoft.com/office/drawing/2014/main" val="2427606211"/>
                    </a:ext>
                  </a:extLst>
                </a:gridCol>
                <a:gridCol w="7345435">
                  <a:extLst>
                    <a:ext uri="{9D8B030D-6E8A-4147-A177-3AD203B41FA5}">
                      <a16:colId xmlns:a16="http://schemas.microsoft.com/office/drawing/2014/main" val="3151137191"/>
                    </a:ext>
                  </a:extLst>
                </a:gridCol>
                <a:gridCol w="1972071">
                  <a:extLst>
                    <a:ext uri="{9D8B030D-6E8A-4147-A177-3AD203B41FA5}">
                      <a16:colId xmlns:a16="http://schemas.microsoft.com/office/drawing/2014/main" val="539603387"/>
                    </a:ext>
                  </a:extLst>
                </a:gridCol>
              </a:tblGrid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Ref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D83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ite name</a:t>
                      </a:r>
                      <a:endParaRPr lang="en-GB" sz="2600" dirty="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D83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Dwellings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D8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007596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48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rookmans Park- Land West of Bluebridge Road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55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382535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60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rookmans Park- Land at Raybrook Farm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8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975089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37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ell Bar- Upper Bell Lane Farm- Bell Lane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00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733844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39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ell Bar- Land to the Northeast- Great North Road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4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332648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80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ell Bar- Home Farm Buildings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682114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15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ullens Green- Tollgate Farm.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3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2826948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28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ullens Green- Tollgate Farm.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80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73996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49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Little Heath- Land South of Hawkshead Road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88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8050693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88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Brookmans Park- Transmitter station (employment)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0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923779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sz="22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EL 31</a:t>
                      </a:r>
                      <a:endParaRPr lang="en-GB" sz="260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2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Hatfield- New Barnfield (employment)</a:t>
                      </a:r>
                      <a:endParaRPr lang="en-GB" sz="2600" dirty="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0</a:t>
                      </a:r>
                      <a:endParaRPr lang="en-GB" sz="2600" dirty="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576780"/>
                  </a:ext>
                </a:extLst>
              </a:tr>
              <a:tr h="536316">
                <a:tc gridSpan="2"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Total</a:t>
                      </a:r>
                      <a:endParaRPr lang="en-GB" sz="2600" dirty="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88416" marR="88416" marT="44208" marB="4420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GB" sz="2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656</a:t>
                      </a:r>
                      <a:endParaRPr lang="en-GB" sz="2600" dirty="0">
                        <a:effectLst/>
                        <a:latin typeface="Times New Roman" panose="02020603050405020304" pitchFamily="18" charset="0"/>
                        <a:ea typeface="Arial Unicode MS"/>
                      </a:endParaRPr>
                    </a:p>
                  </a:txBody>
                  <a:tcPr marL="148686" marR="1486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7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5774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349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9A7D8C-9594-F726-8742-A8F9F526EF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B77ADE8-12F7-4ECC-FCAE-342DA10C54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77ADE8-12F7-4ECC-FCAE-342DA10C54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067CDD-CC3D-8AF8-40BE-FDAF1E930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2" y="0"/>
            <a:ext cx="11839072" cy="1325563"/>
          </a:xfrm>
        </p:spPr>
        <p:txBody>
          <a:bodyPr vert="horz">
            <a:noAutofit/>
          </a:bodyPr>
          <a:lstStyle/>
          <a:p>
            <a:r>
              <a:rPr lang="en-GB" sz="4800" b="1" dirty="0"/>
              <a:t>New dwellings to be spread over five tiers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4E64BB-9040-AC3B-C70C-490A7BCD5E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275695"/>
            <a:ext cx="10013949" cy="409640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4400" dirty="0"/>
              <a:t>WGC &amp; Hatfield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4400" dirty="0"/>
              <a:t>Brookmans Park, Welham Green, Cuffley, Welwyn and Little Heat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4400" dirty="0"/>
              <a:t>Small Villag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4400" dirty="0"/>
              <a:t>Green Belt villag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4400" dirty="0"/>
              <a:t>Green Belt rural areas</a:t>
            </a:r>
          </a:p>
        </p:txBody>
      </p:sp>
    </p:spTree>
    <p:extLst>
      <p:ext uri="{BB962C8B-B14F-4D97-AF65-F5344CB8AC3E}">
        <p14:creationId xmlns:p14="http://schemas.microsoft.com/office/powerpoint/2010/main" val="363568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F6C24A-B71B-3C56-C275-EAF224E72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F21778-AC6B-1D10-A420-D43E6D5F09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7AAA0D-F5E8-0270-EC59-5EC90E835D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377" y="0"/>
            <a:ext cx="1171724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86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EEC7704-15AC-0FB4-F9F8-A3C563F8DB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EC7704-15AC-0FB4-F9F8-A3C563F8DB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F6C24A-B71B-3C56-C275-EAF224E72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192" y="108790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GB" sz="4800" b="1"/>
              <a:t>Welham Gre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F21778-AC6B-1D10-A420-D43E6D5F09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7AAA0D-F5E8-0270-EC59-5EC90E835DD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3278" r="2540" b="43583"/>
          <a:stretch/>
        </p:blipFill>
        <p:spPr>
          <a:xfrm>
            <a:off x="129941" y="1434353"/>
            <a:ext cx="11940140" cy="5314857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DFEB44F-B735-D979-D628-A26D3A8DF03B}"/>
              </a:ext>
            </a:extLst>
          </p:cNvPr>
          <p:cNvSpPr/>
          <p:nvPr/>
        </p:nvSpPr>
        <p:spPr>
          <a:xfrm>
            <a:off x="358593" y="1694938"/>
            <a:ext cx="4072426" cy="3657602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39B5BF-46B6-1B90-2BCA-7428E4C8EA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3788" y="1873834"/>
            <a:ext cx="6968939" cy="326273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8F3261-C9BA-0C4E-0AF2-648DDB761E0E}"/>
              </a:ext>
            </a:extLst>
          </p:cNvPr>
          <p:cNvSpPr txBox="1"/>
          <p:nvPr/>
        </p:nvSpPr>
        <p:spPr>
          <a:xfrm>
            <a:off x="4915253" y="5456044"/>
            <a:ext cx="6886008" cy="369332"/>
          </a:xfrm>
          <a:prstGeom prst="rect">
            <a:avLst/>
          </a:prstGeom>
          <a:solidFill>
            <a:srgbClr val="FFE0B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 at Southway (HS11): 120 dwellings + 2FE Primary schoo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D56CEFB-1284-AA52-80CE-9EE94A8B18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73788" y="5821454"/>
            <a:ext cx="6597299" cy="972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21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CC824AD-4E63-D26C-8808-393A6BA5E0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C824AD-4E63-D26C-8808-393A6BA5E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8A5473-1563-F46D-9555-E5A42E8B1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748" y="-39136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GB" sz="4800" b="1"/>
              <a:t>Welham Green – SDS7 </a:t>
            </a:r>
            <a:r>
              <a:rPr lang="en-GB" sz="4800" b="1" err="1"/>
              <a:t>Marshmoor</a:t>
            </a:r>
            <a:endParaRPr lang="en-GB" sz="4800" b="1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B5E63016-71BF-3264-046E-49B46A18D1A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rcRect l="9117" r="8506"/>
          <a:stretch/>
        </p:blipFill>
        <p:spPr>
          <a:xfrm>
            <a:off x="358341" y="1438476"/>
            <a:ext cx="2950143" cy="5093447"/>
          </a:xfr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D451C03-91B4-B1BE-6FA6-D4AD73342F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08484" y="1438475"/>
            <a:ext cx="8356436" cy="509344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F7F87B3-0066-1964-F3D4-AC0722A5FEA2}"/>
              </a:ext>
            </a:extLst>
          </p:cNvPr>
          <p:cNvSpPr txBox="1"/>
          <p:nvPr/>
        </p:nvSpPr>
        <p:spPr>
          <a:xfrm>
            <a:off x="284748" y="824762"/>
            <a:ext cx="92785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ltation on the scheme has taken place prior to planning application</a:t>
            </a:r>
          </a:p>
        </p:txBody>
      </p:sp>
    </p:spTree>
    <p:extLst>
      <p:ext uri="{BB962C8B-B14F-4D97-AF65-F5344CB8AC3E}">
        <p14:creationId xmlns:p14="http://schemas.microsoft.com/office/powerpoint/2010/main" val="7839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65997CE-BE9C-16A2-ECF3-C9FB443606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3AE2480-CD9F-13BF-F638-EDE1B67C46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AE2480-CD9F-13BF-F638-EDE1B67C46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C86B2D-C7D0-1E97-5E6E-3825CE849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787" y="1825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GB" sz="4800" b="1" dirty="0"/>
              <a:t>Welham Green – SDS7 Marshmoo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520482-4820-EB7B-7D23-3495B44973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8779" y="1193741"/>
            <a:ext cx="11708434" cy="5569474"/>
          </a:xfrm>
        </p:spPr>
        <p:txBody>
          <a:bodyPr>
            <a:noAutofit/>
          </a:bodyPr>
          <a:lstStyle/>
          <a:p>
            <a:r>
              <a:rPr lang="en-GB" sz="4000" dirty="0"/>
              <a:t>Developer has carried out pre-application consultation (completed 21.03.25)</a:t>
            </a:r>
          </a:p>
          <a:p>
            <a:r>
              <a:rPr lang="en-GB" sz="4000" dirty="0"/>
              <a:t>The site is within the local plan – you can no longer object to the principle of the development</a:t>
            </a:r>
          </a:p>
          <a:p>
            <a:r>
              <a:rPr lang="en-GB" sz="4000" dirty="0"/>
              <a:t>NMDGB have raised concerns about the proposed access off Dixons Hill Road into Marshmoor Lane</a:t>
            </a:r>
          </a:p>
          <a:p>
            <a:r>
              <a:rPr lang="en-GB" sz="4000" dirty="0"/>
              <a:t>HCC Highways department need to take an overall view of the impact of all the local developments on the traffic on Dixons Hill Road.</a:t>
            </a:r>
          </a:p>
        </p:txBody>
      </p:sp>
    </p:spTree>
    <p:extLst>
      <p:ext uri="{BB962C8B-B14F-4D97-AF65-F5344CB8AC3E}">
        <p14:creationId xmlns:p14="http://schemas.microsoft.com/office/powerpoint/2010/main" val="268601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AE8D765-B116-A816-EA46-9379724C4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E24418-35C8-D4F0-F35C-8CF6EEA061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886" y="134578"/>
            <a:ext cx="3436222" cy="881427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0CA92706-1274-5FC0-A4E8-BB3E84BBC57F}"/>
              </a:ext>
            </a:extLst>
          </p:cNvPr>
          <p:cNvSpPr txBox="1">
            <a:spLocks/>
          </p:cNvSpPr>
          <p:nvPr/>
        </p:nvSpPr>
        <p:spPr>
          <a:xfrm>
            <a:off x="-173619" y="1280388"/>
            <a:ext cx="12240228" cy="37623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o confirm the Minutes of the Annual General Meeting held on 31</a:t>
            </a:r>
            <a:r>
              <a:rPr lang="en-US" sz="3400" i="0" u="none" strike="noStrike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st</a:t>
            </a:r>
            <a:r>
              <a:rPr lang="en-US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March 2025</a:t>
            </a:r>
          </a:p>
          <a:p>
            <a:pPr lvl="1"/>
            <a:r>
              <a:rPr lang="en-US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o deal with Matters Arising from those Minutes</a:t>
            </a:r>
          </a:p>
          <a:p>
            <a:pPr lvl="1"/>
            <a:r>
              <a:rPr lang="en-US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o receive the Chairman’s Report</a:t>
            </a:r>
          </a:p>
          <a:p>
            <a:pPr lvl="1"/>
            <a:r>
              <a:rPr lang="en-US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he presentation of the Accounts for the year ended 31</a:t>
            </a:r>
            <a:r>
              <a:rPr lang="en-US" sz="3400" dirty="0">
                <a:solidFill>
                  <a:srgbClr val="000000"/>
                </a:solidFill>
                <a:latin typeface="Calibri" panose="020F0502020204030204" pitchFamily="34" charset="0"/>
              </a:rPr>
              <a:t>-12-</a:t>
            </a:r>
            <a:r>
              <a:rPr lang="en-US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025</a:t>
            </a:r>
          </a:p>
          <a:p>
            <a:pPr lvl="1"/>
            <a:r>
              <a:rPr lang="en-US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Election of Officers and Committee Members</a:t>
            </a:r>
          </a:p>
          <a:p>
            <a:pPr lvl="1"/>
            <a:r>
              <a:rPr lang="en-US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Appointment of Independent Reviewer of Accounts</a:t>
            </a:r>
          </a:p>
          <a:p>
            <a:pPr lvl="1"/>
            <a:r>
              <a:rPr lang="en-GB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Any other business </a:t>
            </a:r>
          </a:p>
          <a:p>
            <a:pPr lvl="1"/>
            <a:r>
              <a:rPr lang="en-US" sz="34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o be followed by a presentation about local development and the Local Plan with an opportunity for questions and discussion</a:t>
            </a:r>
            <a:endParaRPr lang="en-GB" sz="3400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F14644-AF24-F792-D1B5-7BB9EC8A501C}"/>
              </a:ext>
            </a:extLst>
          </p:cNvPr>
          <p:cNvSpPr txBox="1">
            <a:spLocks/>
          </p:cNvSpPr>
          <p:nvPr/>
        </p:nvSpPr>
        <p:spPr>
          <a:xfrm>
            <a:off x="3813718" y="-133815"/>
            <a:ext cx="8252892" cy="10160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 algn="ctr">
              <a:buNone/>
            </a:pPr>
            <a:r>
              <a:rPr lang="en-US" sz="4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4400" b="1" dirty="0"/>
              <a:t>AGM 23</a:t>
            </a:r>
            <a:r>
              <a:rPr lang="en-US" sz="4400" b="1" baseline="30000" dirty="0"/>
              <a:t>rd</a:t>
            </a:r>
            <a:r>
              <a:rPr lang="en-US" sz="4400" b="1" dirty="0"/>
              <a:t> March 2026 - Agenda</a:t>
            </a:r>
            <a:endParaRPr lang="en-GB" sz="5400" b="1" dirty="0"/>
          </a:p>
        </p:txBody>
      </p:sp>
    </p:spTree>
    <p:extLst>
      <p:ext uri="{BB962C8B-B14F-4D97-AF65-F5344CB8AC3E}">
        <p14:creationId xmlns:p14="http://schemas.microsoft.com/office/powerpoint/2010/main" val="109201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85BBD7A-1A3F-5859-69A2-BE2534DFD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5BBD7A-1A3F-5859-69A2-BE2534DFD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1DC92E-ADD8-923A-F286-D4A1367D1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12" y="-130176"/>
            <a:ext cx="10515600" cy="1325563"/>
          </a:xfrm>
        </p:spPr>
        <p:txBody>
          <a:bodyPr vert="horz"/>
          <a:lstStyle/>
          <a:p>
            <a:r>
              <a:rPr lang="en-GB" sz="4800" b="1"/>
              <a:t>Welham Green – HS44 Welham Manor  </a:t>
            </a:r>
          </a:p>
        </p:txBody>
      </p:sp>
      <p:pic>
        <p:nvPicPr>
          <p:cNvPr id="26" name="Content Placeholder 25">
            <a:extLst>
              <a:ext uri="{FF2B5EF4-FFF2-40B4-BE49-F238E27FC236}">
                <a16:creationId xmlns:a16="http://schemas.microsoft.com/office/drawing/2014/main" id="{8B59897A-3A27-8D9F-9AA1-A844540887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33375" y="956095"/>
            <a:ext cx="9772650" cy="5658632"/>
          </a:xfr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9E3D48D0-335A-4260-E0DD-A7EF65226B12}"/>
              </a:ext>
            </a:extLst>
          </p:cNvPr>
          <p:cNvSpPr txBox="1"/>
          <p:nvPr/>
        </p:nvSpPr>
        <p:spPr>
          <a:xfrm>
            <a:off x="10420350" y="2077251"/>
            <a:ext cx="167163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mis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nted f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welling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 of 8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plan f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S44/45</a:t>
            </a:r>
          </a:p>
        </p:txBody>
      </p:sp>
    </p:spTree>
    <p:extLst>
      <p:ext uri="{BB962C8B-B14F-4D97-AF65-F5344CB8AC3E}">
        <p14:creationId xmlns:p14="http://schemas.microsoft.com/office/powerpoint/2010/main" val="3183893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85BBD7A-1A3F-5859-69A2-BE2534DFD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5BBD7A-1A3F-5859-69A2-BE2534DFD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1DC92E-ADD8-923A-F286-D4A1367D1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75" y="-39688"/>
            <a:ext cx="12030325" cy="1325563"/>
          </a:xfrm>
        </p:spPr>
        <p:txBody>
          <a:bodyPr vert="horz">
            <a:noAutofit/>
          </a:bodyPr>
          <a:lstStyle/>
          <a:p>
            <a:r>
              <a:rPr lang="en-GB" sz="4800" b="1"/>
              <a:t>Welham Green – HS45 Land west of Station Road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E3D48D0-335A-4260-E0DD-A7EF65226B12}"/>
              </a:ext>
            </a:extLst>
          </p:cNvPr>
          <p:cNvSpPr txBox="1"/>
          <p:nvPr/>
        </p:nvSpPr>
        <p:spPr>
          <a:xfrm>
            <a:off x="8769677" y="2690721"/>
            <a:ext cx="376522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er had public consultation in February 2025 prior to planning applica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14B44A0-7B92-C690-4F67-8D4F52FE49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563" y="1072931"/>
            <a:ext cx="8134350" cy="5495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69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BEEB0C9-8DCE-5777-8CE6-9F8B6CC59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EB0C9-8DCE-5777-8CE6-9F8B6CC59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F6C24A-B71B-3C56-C275-EAF224E72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73" y="-60979"/>
            <a:ext cx="10515600" cy="1325563"/>
          </a:xfrm>
        </p:spPr>
        <p:txBody>
          <a:bodyPr vert="horz"/>
          <a:lstStyle/>
          <a:p>
            <a:r>
              <a:rPr lang="en-GB" sz="4800" b="1" err="1"/>
              <a:t>Brookmans</a:t>
            </a:r>
            <a:r>
              <a:rPr lang="en-GB" sz="4800" b="1"/>
              <a:t> Park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F21778-AC6B-1D10-A420-D43E6D5F09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7AAA0D-F5E8-0270-EC59-5EC90E835DD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1157" t="34254" r="2381" b="20876"/>
          <a:stretch/>
        </p:blipFill>
        <p:spPr>
          <a:xfrm>
            <a:off x="128337" y="1029792"/>
            <a:ext cx="11935326" cy="55514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834544E-EB68-BC9F-7923-BAF26A22D4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00723" y="4273270"/>
            <a:ext cx="6055954" cy="1903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34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CC824AD-4E63-D26C-8808-393A6BA5E0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C824AD-4E63-D26C-8808-393A6BA5E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8A5473-1563-F46D-9555-E5A42E8B1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706" y="-108508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GB" sz="4800" b="1" err="1"/>
              <a:t>Brookmans</a:t>
            </a:r>
            <a:r>
              <a:rPr lang="en-GB" sz="4800" b="1"/>
              <a:t> Park – HS22 West of BP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F7F87B3-0066-1964-F3D4-AC0722A5FEA2}"/>
              </a:ext>
            </a:extLst>
          </p:cNvPr>
          <p:cNvSpPr txBox="1"/>
          <p:nvPr/>
        </p:nvSpPr>
        <p:spPr>
          <a:xfrm>
            <a:off x="9773827" y="2029692"/>
            <a:ext cx="235312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er has carried out public consultation prior to making planning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73 Hou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8 Apartment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5334F09-F65A-D653-7DF2-3FB51FB102F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1976" b="18823"/>
          <a:stretch/>
        </p:blipFill>
        <p:spPr>
          <a:xfrm>
            <a:off x="273203" y="978996"/>
            <a:ext cx="9316845" cy="5737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27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CC824AD-4E63-D26C-8808-393A6BA5E0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C824AD-4E63-D26C-8808-393A6BA5E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8A5473-1563-F46D-9555-E5A42E8B1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097" y="20033"/>
            <a:ext cx="10515600" cy="1325563"/>
          </a:xfrm>
          <a:solidFill>
            <a:schemeClr val="accent6">
              <a:lumMod val="40000"/>
              <a:lumOff val="60000"/>
            </a:schemeClr>
          </a:solidFill>
        </p:spPr>
        <p:txBody>
          <a:bodyPr vert="horz">
            <a:normAutofit/>
          </a:bodyPr>
          <a:lstStyle/>
          <a:p>
            <a:r>
              <a:rPr lang="en-GB" sz="4800" b="1" err="1"/>
              <a:t>Brookmans</a:t>
            </a:r>
            <a:r>
              <a:rPr lang="en-GB" sz="4800" b="1"/>
              <a:t> Park –  HS47 Golf Club Roa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F7F87B3-0066-1964-F3D4-AC0722A5FEA2}"/>
              </a:ext>
            </a:extLst>
          </p:cNvPr>
          <p:cNvSpPr txBox="1"/>
          <p:nvPr/>
        </p:nvSpPr>
        <p:spPr>
          <a:xfrm>
            <a:off x="9985917" y="2685683"/>
            <a:ext cx="206297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ning permission granted for 14 dwell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79E6FC-D523-8327-9FAD-3ACF077B9D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2200630" y="-825611"/>
            <a:ext cx="5568642" cy="9486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19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693CC6F-CCB4-6652-1744-1DB99C6C41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93CC6F-CCB4-6652-1744-1DB99C6C4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F6C24A-B71B-3C56-C275-EAF224E72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219" y="-58313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GB" sz="4800" b="1"/>
              <a:t>Little Heath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F21778-AC6B-1D10-A420-D43E6D5F09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7AAA0D-F5E8-0270-EC59-5EC90E835DD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0817" t="70814" r="1935"/>
          <a:stretch/>
        </p:blipFill>
        <p:spPr>
          <a:xfrm>
            <a:off x="166786" y="1111133"/>
            <a:ext cx="11922995" cy="54680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8DE787-4474-CDA3-1535-5A1BC7D202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6530" y="1474512"/>
            <a:ext cx="7271962" cy="163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045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CC824AD-4E63-D26C-8808-393A6BA5E0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C824AD-4E63-D26C-8808-393A6BA5E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8A5473-1563-F46D-9555-E5A42E8B1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093" y="-19650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GB" sz="4800" b="1"/>
              <a:t>Little Heath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2217717-1B91-C179-F897-1F0BCDB54407}"/>
              </a:ext>
            </a:extLst>
          </p:cNvPr>
          <p:cNvGrpSpPr/>
          <p:nvPr/>
        </p:nvGrpSpPr>
        <p:grpSpPr>
          <a:xfrm>
            <a:off x="1055822" y="1412379"/>
            <a:ext cx="8144758" cy="4937359"/>
            <a:chOff x="6498210" y="1600915"/>
            <a:chExt cx="8144758" cy="4937359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A633A657-FBD7-0D12-9539-64003731D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13135" y="2521847"/>
              <a:ext cx="4959285" cy="4016427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8FCB34A-0DA9-2F83-50C4-9B3C8D049AE4}"/>
                </a:ext>
              </a:extLst>
            </p:cNvPr>
            <p:cNvSpPr txBox="1"/>
            <p:nvPr/>
          </p:nvSpPr>
          <p:spPr>
            <a:xfrm>
              <a:off x="6498210" y="1600915"/>
              <a:ext cx="609442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S47 Hawkshead Road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621D83B-29F8-7549-6EBD-35BE3960BFC1}"/>
                </a:ext>
              </a:extLst>
            </p:cNvPr>
            <p:cNvSpPr txBox="1"/>
            <p:nvPr/>
          </p:nvSpPr>
          <p:spPr>
            <a:xfrm>
              <a:off x="6498210" y="2060020"/>
              <a:ext cx="814475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der construction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0D384DE-CEE1-2DB5-15EE-14098E5105C1}"/>
              </a:ext>
            </a:extLst>
          </p:cNvPr>
          <p:cNvGrpSpPr/>
          <p:nvPr/>
        </p:nvGrpSpPr>
        <p:grpSpPr>
          <a:xfrm>
            <a:off x="6635685" y="1355459"/>
            <a:ext cx="8144758" cy="4147081"/>
            <a:chOff x="838200" y="1601351"/>
            <a:chExt cx="8144758" cy="414708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F7F87B3-0066-1964-F3D4-AC0722A5FEA2}"/>
                </a:ext>
              </a:extLst>
            </p:cNvPr>
            <p:cNvSpPr txBox="1"/>
            <p:nvPr/>
          </p:nvSpPr>
          <p:spPr>
            <a:xfrm>
              <a:off x="838200" y="2095917"/>
              <a:ext cx="814475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der construction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B643EE8-E9D1-CEF9-94B7-460F235F3614}"/>
                </a:ext>
              </a:extLst>
            </p:cNvPr>
            <p:cNvSpPr txBox="1"/>
            <p:nvPr/>
          </p:nvSpPr>
          <p:spPr>
            <a:xfrm>
              <a:off x="838200" y="1601351"/>
              <a:ext cx="609442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S25 Hawkshead Road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5C108910-A0FA-68B4-B7AB-EAAB91073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8200" y="2962811"/>
              <a:ext cx="4290001" cy="27856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5246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2329557-70EC-F0A6-9075-D9775E674E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3E4855-0AE8-0089-FE9F-61A745B70C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3E4855-0AE8-0089-FE9F-61A745B70C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8FD69C-8527-0D68-A0C0-F80506578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2" y="177800"/>
            <a:ext cx="11839072" cy="1325563"/>
          </a:xfrm>
        </p:spPr>
        <p:txBody>
          <a:bodyPr vert="horz">
            <a:noAutofit/>
          </a:bodyPr>
          <a:lstStyle/>
          <a:p>
            <a:r>
              <a:rPr lang="en-GB" sz="4800" b="1" dirty="0"/>
              <a:t>North Mymms Parish:</a:t>
            </a:r>
            <a:br>
              <a:rPr lang="en-GB" sz="4800" b="1" dirty="0"/>
            </a:br>
            <a:r>
              <a:rPr lang="en-GB" sz="4800" b="1" dirty="0"/>
              <a:t>Brookmans Park, Welham Green &amp; Little Hea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7B2C9-95BB-9F55-616C-15C15F3B59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853545"/>
            <a:ext cx="10236199" cy="409640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4400" dirty="0"/>
              <a:t>Adopted Local Plan includes: 1,135 homes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4400" dirty="0"/>
              <a:t>Extra new plan allocations: 1,072 homes</a:t>
            </a:r>
            <a:br>
              <a:rPr lang="en-GB" sz="4400" dirty="0"/>
            </a:br>
            <a:endParaRPr lang="en-GB" sz="4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4400" dirty="0"/>
              <a:t>Total to be built in North Mymms: 2,307</a:t>
            </a:r>
          </a:p>
        </p:txBody>
      </p:sp>
    </p:spTree>
    <p:extLst>
      <p:ext uri="{BB962C8B-B14F-4D97-AF65-F5344CB8AC3E}">
        <p14:creationId xmlns:p14="http://schemas.microsoft.com/office/powerpoint/2010/main" val="14227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C1B1C-B7AD-69ED-FC39-69732EEC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278" y="0"/>
            <a:ext cx="10515600" cy="1325563"/>
          </a:xfrm>
        </p:spPr>
        <p:txBody>
          <a:bodyPr>
            <a:normAutofit/>
          </a:bodyPr>
          <a:lstStyle/>
          <a:p>
            <a:r>
              <a:rPr lang="en-GB" sz="4800" b="1" dirty="0"/>
              <a:t>Non-Local-Plan Develop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5CA9AD-A584-121F-B5D4-A98967676D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4501" y="1098383"/>
            <a:ext cx="10775949" cy="5197900"/>
          </a:xfrm>
        </p:spPr>
        <p:txBody>
          <a:bodyPr>
            <a:noAutofit/>
          </a:bodyPr>
          <a:lstStyle/>
          <a:p>
            <a:r>
              <a:rPr lang="en-GB" sz="4400" dirty="0"/>
              <a:t>Bullens Green (Partly in St. Albans):</a:t>
            </a:r>
          </a:p>
          <a:p>
            <a:pPr lvl="1"/>
            <a:r>
              <a:rPr lang="en-GB" sz="4000" dirty="0"/>
              <a:t>144 dwellings. Under construction</a:t>
            </a:r>
          </a:p>
          <a:p>
            <a:r>
              <a:rPr lang="en-GB" sz="4400" dirty="0"/>
              <a:t>Hope and Anchor (Dixons Hill Road):</a:t>
            </a:r>
          </a:p>
          <a:p>
            <a:pPr lvl="1"/>
            <a:r>
              <a:rPr lang="en-GB" sz="4000" dirty="0"/>
              <a:t>9 dwellings. Under construction</a:t>
            </a:r>
          </a:p>
          <a:p>
            <a:r>
              <a:rPr lang="en-GB" sz="4400" dirty="0"/>
              <a:t>Bell Bar/Bell Lane (several sites, granted):</a:t>
            </a:r>
          </a:p>
          <a:p>
            <a:pPr lvl="1"/>
            <a:r>
              <a:rPr lang="en-GB" sz="4000" dirty="0"/>
              <a:t>7+ dwellings</a:t>
            </a:r>
          </a:p>
          <a:p>
            <a:r>
              <a:rPr lang="en-GB" sz="4400" dirty="0" err="1"/>
              <a:t>Glendee</a:t>
            </a:r>
            <a:r>
              <a:rPr lang="en-GB" sz="4400" dirty="0"/>
              <a:t> Kennels (decision pending):</a:t>
            </a:r>
          </a:p>
          <a:p>
            <a:pPr lvl="1"/>
            <a:r>
              <a:rPr lang="en-GB" sz="4000" dirty="0"/>
              <a:t>9 dwellings</a:t>
            </a:r>
          </a:p>
        </p:txBody>
      </p:sp>
    </p:spTree>
    <p:extLst>
      <p:ext uri="{BB962C8B-B14F-4D97-AF65-F5344CB8AC3E}">
        <p14:creationId xmlns:p14="http://schemas.microsoft.com/office/powerpoint/2010/main" val="375922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600236-E22B-D37F-CC71-D5E595F4F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600236-E22B-D37F-CC71-D5E595F4F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E2BB51-7D42-794E-AD82-46B2E615C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156" y="0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sz="5400" b="1"/>
              <a:t>New Local Plan Time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8AA794-5A3C-7204-176E-1AA5544E4A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8156" y="1253331"/>
            <a:ext cx="11902068" cy="4351338"/>
          </a:xfrm>
        </p:spPr>
        <p:txBody>
          <a:bodyPr vert="horz" lIns="91440" tIns="45720" rIns="91440" bIns="45720" rtlCol="0">
            <a:noAutofit/>
          </a:bodyPr>
          <a:lstStyle/>
          <a:p>
            <a:r>
              <a:rPr lang="en-GB" sz="4000" dirty="0"/>
              <a:t>Early engagement (Sept 2024 to Nov 2024) - completed</a:t>
            </a:r>
          </a:p>
          <a:p>
            <a:r>
              <a:rPr lang="en-GB" sz="4000" dirty="0"/>
              <a:t>Reg 18 Consultation (plan preparation) - Summer 2026</a:t>
            </a:r>
          </a:p>
          <a:p>
            <a:r>
              <a:rPr lang="en-GB" sz="4000" dirty="0"/>
              <a:t>Evidence gathering (Call for Sites) - 2024-2026</a:t>
            </a:r>
          </a:p>
          <a:p>
            <a:r>
              <a:rPr lang="en-GB" sz="4000" dirty="0"/>
              <a:t>Reg 19 &amp; 20 Publication and Representations - Spring 2026</a:t>
            </a:r>
          </a:p>
          <a:p>
            <a:r>
              <a:rPr lang="en-GB" sz="4000" dirty="0"/>
              <a:t>Reg 22 Submission to Secretary of State - October 2026</a:t>
            </a:r>
          </a:p>
          <a:p>
            <a:r>
              <a:rPr lang="en-GB" sz="4000" dirty="0"/>
              <a:t>Independent examination - Nov 2026 - April 2027</a:t>
            </a:r>
          </a:p>
          <a:p>
            <a:r>
              <a:rPr lang="en-GB" sz="4000" dirty="0"/>
              <a:t>Adoption - June 2027</a:t>
            </a:r>
          </a:p>
        </p:txBody>
      </p:sp>
    </p:spTree>
    <p:extLst>
      <p:ext uri="{BB962C8B-B14F-4D97-AF65-F5344CB8AC3E}">
        <p14:creationId xmlns:p14="http://schemas.microsoft.com/office/powerpoint/2010/main" val="327571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rcRect/>
          <a:stretch>
            <a:fillRect l="-29000" r="-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9367" y="101147"/>
            <a:ext cx="11779169" cy="4525963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sz="9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deliver our annual </a:t>
            </a:r>
            <a:r>
              <a:rPr sz="9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nted </a:t>
            </a:r>
            <a:r>
              <a:rPr sz="9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wsletter to </a:t>
            </a:r>
            <a:r>
              <a:rPr sz="13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710</a:t>
            </a:r>
            <a:r>
              <a:rPr sz="9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households, every February</a:t>
            </a:r>
            <a:r>
              <a:rPr lang="en-GB" sz="9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.</a:t>
            </a:r>
            <a:r>
              <a:rPr sz="9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30000">
        <p14:doors dir="vert"/>
      </p:transition>
    </mc:Choice>
    <mc:Fallback xmlns="">
      <p:transition spd="slow" advClick="0" advTm="30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4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5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6000">
              <a:schemeClr val="accent6">
                <a:lumMod val="20000"/>
                <a:lumOff val="80000"/>
              </a:schemeClr>
            </a:gs>
            <a:gs pos="0">
              <a:schemeClr val="accent6">
                <a:lumMod val="20000"/>
                <a:lumOff val="80000"/>
              </a:schemeClr>
            </a:gs>
            <a:gs pos="73000">
              <a:schemeClr val="accent6">
                <a:lumMod val="75000"/>
              </a:schemeClr>
            </a:gs>
            <a:gs pos="90000">
              <a:schemeClr val="accent6">
                <a:lumMod val="60000"/>
                <a:lumOff val="40000"/>
              </a:schemeClr>
            </a:gs>
            <a:gs pos="100000">
              <a:schemeClr val="accent6">
                <a:lumMod val="20000"/>
                <a:lumOff val="8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DCBCA00-1C9D-D66C-54EE-84BB44B58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427C520-1594-FBF5-DEAA-57F7B44D4F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886" y="134578"/>
            <a:ext cx="3436222" cy="881427"/>
          </a:xfrm>
          <a:prstGeom prst="rect">
            <a:avLst/>
          </a:prstGeom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7" name="Slide Zoom 6">
                <a:extLst>
                  <a:ext uri="{FF2B5EF4-FFF2-40B4-BE49-F238E27FC236}">
                    <a16:creationId xmlns:a16="http://schemas.microsoft.com/office/drawing/2014/main" id="{790753B8-40C5-BF8B-CDF7-674D26DF886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216474273"/>
                  </p:ext>
                </p:extLst>
              </p:nvPr>
            </p:nvGraphicFramePr>
            <p:xfrm>
              <a:off x="408039" y="2618944"/>
              <a:ext cx="3048000" cy="1714500"/>
            </p:xfrm>
            <a:graphic>
              <a:graphicData uri="http://schemas.microsoft.com/office/powerpoint/2016/slidezoom">
                <pslz:sldZm>
                  <pslz:sldZmObj sldId="261" cId="3831410587">
                    <pslz:zmPr id="{4F74E771-23F8-4060-AC25-1042168FA013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  <a:effectLst>
                          <a:outerShdw blurRad="292100" dist="139700" dir="2700000" algn="tl" rotWithShape="0">
                            <a:srgbClr val="333333">
                              <a:alpha val="65000"/>
                            </a:srgb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7" name="Slide Zoom 6">
                <a:extLst>
                  <a:ext uri="{FF2B5EF4-FFF2-40B4-BE49-F238E27FC236}">
                    <a16:creationId xmlns:a16="http://schemas.microsoft.com/office/drawing/2014/main" id="{790753B8-40C5-BF8B-CDF7-674D26DF886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039" y="2618944"/>
                <a:ext cx="3048000" cy="171450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" name="Slide Zoom 8">
                <a:extLst>
                  <a:ext uri="{FF2B5EF4-FFF2-40B4-BE49-F238E27FC236}">
                    <a16:creationId xmlns:a16="http://schemas.microsoft.com/office/drawing/2014/main" id="{C81642F8-552A-6DC6-F953-93F23824CA1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01322881"/>
                  </p:ext>
                </p:extLst>
              </p:nvPr>
            </p:nvGraphicFramePr>
            <p:xfrm>
              <a:off x="4572000" y="2618944"/>
              <a:ext cx="3048000" cy="1714500"/>
            </p:xfrm>
            <a:graphic>
              <a:graphicData uri="http://schemas.microsoft.com/office/powerpoint/2016/slidezoom">
                <pslz:sldZm>
                  <pslz:sldZmObj sldId="259" cId="1817686527">
                    <pslz:zmPr id="{6E3892ED-EA8B-4C7B-949D-A215E9A09175}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  <a:effectLst>
                          <a:outerShdw blurRad="292100" dist="139700" dir="2700000" algn="tl" rotWithShape="0">
                            <a:srgbClr val="333333">
                              <a:alpha val="65000"/>
                            </a:srgb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" name="Slide Zoom 8">
                <a:extLst>
                  <a:ext uri="{FF2B5EF4-FFF2-40B4-BE49-F238E27FC236}">
                    <a16:creationId xmlns:a16="http://schemas.microsoft.com/office/drawing/2014/main" id="{C81642F8-552A-6DC6-F953-93F23824CA1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72000" y="2618944"/>
                <a:ext cx="3048000" cy="171450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1" name="Slide Zoom 10">
                <a:extLst>
                  <a:ext uri="{FF2B5EF4-FFF2-40B4-BE49-F238E27FC236}">
                    <a16:creationId xmlns:a16="http://schemas.microsoft.com/office/drawing/2014/main" id="{07E3ABA4-0117-B0A7-E313-D41ACADA546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24552099"/>
                  </p:ext>
                </p:extLst>
              </p:nvPr>
            </p:nvGraphicFramePr>
            <p:xfrm>
              <a:off x="8735961" y="2571750"/>
              <a:ext cx="3048000" cy="1714500"/>
            </p:xfrm>
            <a:graphic>
              <a:graphicData uri="http://schemas.microsoft.com/office/powerpoint/2016/slidezoom">
                <pslz:sldZm>
                  <pslz:sldZmObj sldId="260" cId="699688686">
                    <pslz:zmPr id="{437C30B9-D855-4F2F-B1CA-D7907025BE16}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  <a:effectLst>
                          <a:outerShdw blurRad="292100" dist="139700" dir="2700000" algn="tl" rotWithShape="0">
                            <a:srgbClr val="333333">
                              <a:alpha val="65000"/>
                            </a:srgb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1" name="Slide Zoom 10">
                <a:extLst>
                  <a:ext uri="{FF2B5EF4-FFF2-40B4-BE49-F238E27FC236}">
                    <a16:creationId xmlns:a16="http://schemas.microsoft.com/office/drawing/2014/main" id="{07E3ABA4-0117-B0A7-E313-D41ACADA546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735961" y="2571750"/>
                <a:ext cx="3048000" cy="171450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mc:Fallback>
      </mc:AlternateContent>
      <p:sp>
        <p:nvSpPr>
          <p:cNvPr id="2" name="Subtitle 2">
            <a:extLst>
              <a:ext uri="{FF2B5EF4-FFF2-40B4-BE49-F238E27FC236}">
                <a16:creationId xmlns:a16="http://schemas.microsoft.com/office/drawing/2014/main" id="{44E4E7D9-491E-9C15-11F5-505174C118DC}"/>
              </a:ext>
            </a:extLst>
          </p:cNvPr>
          <p:cNvSpPr txBox="1">
            <a:spLocks/>
          </p:cNvSpPr>
          <p:nvPr/>
        </p:nvSpPr>
        <p:spPr>
          <a:xfrm>
            <a:off x="0" y="1316997"/>
            <a:ext cx="12192000" cy="1048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5400" b="1" dirty="0"/>
              <a:t>Financial Report – Year Ending 2024</a:t>
            </a:r>
          </a:p>
          <a:p>
            <a:pPr marL="0" indent="0" algn="ctr">
              <a:buNone/>
            </a:pPr>
            <a:endParaRPr lang="en-GB" sz="4400" b="1" dirty="0"/>
          </a:p>
        </p:txBody>
      </p:sp>
    </p:spTree>
    <p:extLst>
      <p:ext uri="{BB962C8B-B14F-4D97-AF65-F5344CB8AC3E}">
        <p14:creationId xmlns:p14="http://schemas.microsoft.com/office/powerpoint/2010/main" val="72564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24BDB9F-7862-DBE9-EE7B-99F254FC6A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4BDB9F-7862-DBE9-EE7B-99F254FC6A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EC4A31-B564-23EA-DF33-892E3E55F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 algn="ctr"/>
            <a:r>
              <a:rPr lang="en-GB"/>
              <a:t>Our Local Plan – Welwyn Hatfield Borough Council</a:t>
            </a:r>
            <a:br>
              <a:rPr lang="en-GB">
                <a:ea typeface="Calibri Light"/>
                <a:cs typeface="Calibri Light"/>
              </a:rPr>
            </a:br>
            <a:r>
              <a:rPr lang="en-GB">
                <a:ea typeface="+mj-lt"/>
                <a:cs typeface="+mj-lt"/>
                <a:hlinkClick r:id="rId5"/>
              </a:rPr>
              <a:t>https://www.welhat.gov.uk/ourlocalplan</a:t>
            </a:r>
            <a:br>
              <a:rPr lang="en-GB"/>
            </a:b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D8E09B-AE2E-BCC9-A729-6618AD0713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1840" y="1578460"/>
            <a:ext cx="8031936" cy="503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86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1D61CD7-F956-E535-D7DA-2C2C50C32B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D61CD7-F956-E535-D7DA-2C2C50C32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043913-FC36-B310-3A4B-F77EEF53F696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6">
              <a:lumMod val="40000"/>
              <a:lumOff val="60000"/>
            </a:schemeClr>
          </a:solidFill>
        </p:spPr>
        <p:txBody>
          <a:bodyPr vert="horz"/>
          <a:lstStyle/>
          <a:p>
            <a:r>
              <a:rPr lang="en-GB" sz="4800" b="1"/>
              <a:t>Early engagement – Key themes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A5179266-04F7-1204-A7AB-A993AE5FE89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76288" y="1797343"/>
            <a:ext cx="5705370" cy="3953007"/>
          </a:xfr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AF6724E-5D3F-FC64-59F2-A3B744E66A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1416" y="1797343"/>
            <a:ext cx="5634173" cy="395300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64AAB44-E0FC-B3B9-3C9C-7E98E0F2F883}"/>
              </a:ext>
            </a:extLst>
          </p:cNvPr>
          <p:cNvSpPr txBox="1"/>
          <p:nvPr/>
        </p:nvSpPr>
        <p:spPr>
          <a:xfrm>
            <a:off x="718794" y="6123543"/>
            <a:ext cx="81235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Early Engagement Key Themes - Our Local Plan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3854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366B991-8A65-9167-D81B-51DCDCE76D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66B991-8A65-9167-D81B-51DCDCE76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CE80CD-E347-0FBB-7BC1-26F9F9997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300" y="3402013"/>
            <a:ext cx="7194550" cy="1325563"/>
          </a:xfrm>
          <a:solidFill>
            <a:schemeClr val="accent6">
              <a:lumMod val="40000"/>
              <a:lumOff val="60000"/>
            </a:schemeClr>
          </a:solidFill>
        </p:spPr>
        <p:txBody>
          <a:bodyPr vert="horz">
            <a:normAutofit/>
          </a:bodyPr>
          <a:lstStyle/>
          <a:p>
            <a:pPr algn="ctr"/>
            <a:r>
              <a:rPr lang="en-GB" sz="8000" b="1" dirty="0"/>
              <a:t>Questions?</a:t>
            </a:r>
          </a:p>
        </p:txBody>
      </p:sp>
      <p:pic>
        <p:nvPicPr>
          <p:cNvPr id="5" name="Picture 4" descr="A green and black sign&#10;&#10;AI-generated content may be incorrect.">
            <a:extLst>
              <a:ext uri="{FF2B5EF4-FFF2-40B4-BE49-F238E27FC236}">
                <a16:creationId xmlns:a16="http://schemas.microsoft.com/office/drawing/2014/main" id="{BD9BB925-8E47-4FA4-9099-C83DD26507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254000"/>
            <a:ext cx="7315200" cy="18764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689507C-7495-84E6-9BE5-1D5DF4FD20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7300" y="2317750"/>
            <a:ext cx="4286250" cy="428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56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C65BF2-F46F-A845-8A06-B34F8D45E8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AB26C6A-3AE0-EE94-36C9-E07B9C9FDE1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320489"/>
              </p:ext>
            </p:extLst>
          </p:nvPr>
        </p:nvGraphicFramePr>
        <p:xfrm>
          <a:off x="207730" y="1134483"/>
          <a:ext cx="11776540" cy="3693500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2208816">
                  <a:extLst>
                    <a:ext uri="{9D8B030D-6E8A-4147-A177-3AD203B41FA5}">
                      <a16:colId xmlns:a16="http://schemas.microsoft.com/office/drawing/2014/main" val="88487501"/>
                    </a:ext>
                  </a:extLst>
                </a:gridCol>
                <a:gridCol w="7870624">
                  <a:extLst>
                    <a:ext uri="{9D8B030D-6E8A-4147-A177-3AD203B41FA5}">
                      <a16:colId xmlns:a16="http://schemas.microsoft.com/office/drawing/2014/main" val="1540352043"/>
                    </a:ext>
                  </a:extLst>
                </a:gridCol>
                <a:gridCol w="1697100">
                  <a:extLst>
                    <a:ext uri="{9D8B030D-6E8A-4147-A177-3AD203B41FA5}">
                      <a16:colId xmlns:a16="http://schemas.microsoft.com/office/drawing/2014/main" val="1380128935"/>
                    </a:ext>
                  </a:extLst>
                </a:gridCol>
              </a:tblGrid>
              <a:tr h="497315"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b="1" u="none" strike="noStrike" dirty="0">
                          <a:effectLst/>
                        </a:rPr>
                        <a:t>2024</a:t>
                      </a:r>
                      <a:r>
                        <a:rPr lang="en-GB" sz="3100" u="none" strike="noStrike" dirty="0">
                          <a:effectLst/>
                        </a:rPr>
                        <a:t> </a:t>
                      </a:r>
                      <a:endParaRPr lang="en-GB" sz="3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b="1" u="none" strike="noStrike" dirty="0">
                          <a:effectLst/>
                        </a:rPr>
                        <a:t>Financial Statement - Year End</a:t>
                      </a:r>
                      <a:r>
                        <a:rPr lang="en-GB" sz="3100" u="none" strike="noStrike" dirty="0">
                          <a:effectLst/>
                        </a:rPr>
                        <a:t> </a:t>
                      </a:r>
                      <a:endParaRPr lang="en-GB" sz="3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00" marR="5800" marT="58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b="1" u="none" strike="noStrike" dirty="0">
                          <a:effectLst/>
                        </a:rPr>
                        <a:t>2025</a:t>
                      </a:r>
                      <a:r>
                        <a:rPr lang="en-GB" sz="1900" u="none" strike="noStrike" dirty="0">
                          <a:effectLst/>
                        </a:rPr>
                        <a:t> </a:t>
                      </a:r>
                      <a:endParaRPr lang="en-GB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6704928"/>
                  </a:ext>
                </a:extLst>
              </a:tr>
              <a:tr h="977768"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b="1" u="none" strike="noStrike" dirty="0">
                          <a:effectLst/>
                        </a:rPr>
                        <a:t>£</a:t>
                      </a:r>
                      <a:endParaRPr lang="en-GB" sz="3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b="1" u="none" strike="noStrike" dirty="0">
                          <a:effectLst/>
                        </a:rPr>
                        <a:t>Income </a:t>
                      </a:r>
                      <a:endParaRPr lang="en-GB" sz="3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b="1" u="none" strike="noStrike" dirty="0">
                          <a:effectLst/>
                        </a:rPr>
                        <a:t>£</a:t>
                      </a:r>
                      <a:endParaRPr lang="en-GB" sz="3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0026326"/>
                  </a:ext>
                </a:extLst>
              </a:tr>
              <a:tr h="497315">
                <a:tc>
                  <a:txBody>
                    <a:bodyPr/>
                    <a:lstStyle/>
                    <a:p>
                      <a:pPr algn="r" fontAlgn="b"/>
                      <a:r>
                        <a:rPr lang="en-GB" sz="3100" u="none" strike="noStrike" dirty="0">
                          <a:effectLst/>
                        </a:rPr>
                        <a:t>806</a:t>
                      </a:r>
                      <a:endParaRPr lang="en-GB" sz="3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u="none" strike="noStrike" dirty="0">
                          <a:effectLst/>
                        </a:rPr>
                        <a:t>Subscriptions </a:t>
                      </a:r>
                      <a:endParaRPr lang="en-GB" sz="3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100" u="none" strike="noStrike" dirty="0">
                          <a:effectLst/>
                        </a:rPr>
                        <a:t>895</a:t>
                      </a:r>
                      <a:endParaRPr lang="en-GB" sz="3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2734090"/>
                  </a:ext>
                </a:extLst>
              </a:tr>
              <a:tr h="543576">
                <a:tc>
                  <a:txBody>
                    <a:bodyPr/>
                    <a:lstStyle/>
                    <a:p>
                      <a:pPr algn="r" fontAlgn="b"/>
                      <a:r>
                        <a:rPr lang="en-GB" sz="3100" u="none" strike="noStrike" dirty="0">
                          <a:effectLst/>
                        </a:rPr>
                        <a:t>3,882</a:t>
                      </a:r>
                      <a:endParaRPr lang="en-GB" sz="3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u="none" strike="noStrike" dirty="0">
                          <a:effectLst/>
                        </a:rPr>
                        <a:t>Donations </a:t>
                      </a:r>
                      <a:endParaRPr lang="en-GB" sz="3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100" u="none" strike="noStrike" dirty="0">
                          <a:effectLst/>
                        </a:rPr>
                        <a:t>4,085</a:t>
                      </a:r>
                      <a:endParaRPr lang="en-GB" sz="3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3776486"/>
                  </a:ext>
                </a:extLst>
              </a:tr>
              <a:tr h="639029">
                <a:tc>
                  <a:txBody>
                    <a:bodyPr/>
                    <a:lstStyle/>
                    <a:p>
                      <a:pPr algn="r" fontAlgn="b"/>
                      <a:r>
                        <a:rPr lang="en-GB" sz="3100" u="none" strike="noStrike" dirty="0">
                          <a:effectLst/>
                        </a:rPr>
                        <a:t>94</a:t>
                      </a:r>
                      <a:endParaRPr lang="en-GB" sz="3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u="none" strike="noStrike" dirty="0">
                          <a:effectLst/>
                        </a:rPr>
                        <a:t>Income Village day </a:t>
                      </a:r>
                      <a:endParaRPr lang="en-GB" sz="3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u="none" strike="noStrike" dirty="0">
                          <a:effectLst/>
                        </a:rPr>
                        <a:t>-</a:t>
                      </a:r>
                      <a:endParaRPr lang="en-GB" sz="3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5538154"/>
                  </a:ext>
                </a:extLst>
              </a:tr>
              <a:tr h="538497">
                <a:tc>
                  <a:txBody>
                    <a:bodyPr/>
                    <a:lstStyle/>
                    <a:p>
                      <a:pPr algn="r" fontAlgn="b"/>
                      <a:r>
                        <a:rPr lang="en-GB" sz="3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782 </a:t>
                      </a: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100" b="1" u="none" strike="noStrike" dirty="0">
                          <a:effectLst/>
                        </a:rPr>
                        <a:t>Total Income </a:t>
                      </a:r>
                      <a:endParaRPr lang="en-GB" sz="3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864" marR="16864" marT="168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980 </a:t>
                      </a:r>
                    </a:p>
                  </a:txBody>
                  <a:tcPr marL="16864" marR="16864" marT="1686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8168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141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29831E8-708B-F350-9170-4326C254D9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4008784-173A-28B0-6532-9F9DA2B55B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9512824"/>
              </p:ext>
            </p:extLst>
          </p:nvPr>
        </p:nvGraphicFramePr>
        <p:xfrm>
          <a:off x="711200" y="184493"/>
          <a:ext cx="10115550" cy="6170844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1873460">
                  <a:extLst>
                    <a:ext uri="{9D8B030D-6E8A-4147-A177-3AD203B41FA5}">
                      <a16:colId xmlns:a16="http://schemas.microsoft.com/office/drawing/2014/main" val="88487501"/>
                    </a:ext>
                  </a:extLst>
                </a:gridCol>
                <a:gridCol w="6279940">
                  <a:extLst>
                    <a:ext uri="{9D8B030D-6E8A-4147-A177-3AD203B41FA5}">
                      <a16:colId xmlns:a16="http://schemas.microsoft.com/office/drawing/2014/main" val="1008273285"/>
                    </a:ext>
                  </a:extLst>
                </a:gridCol>
                <a:gridCol w="1962150">
                  <a:extLst>
                    <a:ext uri="{9D8B030D-6E8A-4147-A177-3AD203B41FA5}">
                      <a16:colId xmlns:a16="http://schemas.microsoft.com/office/drawing/2014/main" val="1380128935"/>
                    </a:ext>
                  </a:extLst>
                </a:gridCol>
              </a:tblGrid>
              <a:tr h="3729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 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1" u="none" strike="noStrike" dirty="0">
                          <a:effectLst/>
                        </a:rPr>
                        <a:t>Outgoings/Expenses </a:t>
                      </a:r>
                      <a:endParaRPr lang="en-GB" sz="2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5</a:t>
                      </a:r>
                      <a:r>
                        <a:rPr lang="en-GB" sz="1700" u="none" strike="noStrike" dirty="0">
                          <a:effectLst/>
                        </a:rPr>
                        <a:t> </a:t>
                      </a:r>
                      <a:endParaRPr lang="en-GB" sz="1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868112"/>
                  </a:ext>
                </a:extLst>
              </a:tr>
              <a:tr h="3729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u="none" strike="noStrike" dirty="0">
                          <a:effectLst/>
                        </a:rPr>
                        <a:t>217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AGM  Newsletter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2284162"/>
                  </a:ext>
                </a:extLst>
              </a:tr>
              <a:tr h="3729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u="none" strike="noStrike" dirty="0">
                          <a:effectLst/>
                        </a:rPr>
                        <a:t>60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Hire of Memorial Hall for AGM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576571"/>
                  </a:ext>
                </a:extLst>
              </a:tr>
              <a:tr h="406660"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u="none" strike="noStrike" dirty="0">
                          <a:effectLst/>
                        </a:rPr>
                        <a:t>72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Annual Domain renewal fees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2964937"/>
                  </a:ext>
                </a:extLst>
              </a:tr>
              <a:tr h="41297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2400" u="none" strike="noStrike" dirty="0">
                          <a:effectLst/>
                        </a:rPr>
                        <a:t>58</a:t>
                      </a:r>
                      <a:endParaRPr lang="en-GB" sz="24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Postage &amp; printing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5855934"/>
                  </a:ext>
                </a:extLst>
              </a:tr>
              <a:tr h="73338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2400" u="none" strike="noStrike" dirty="0">
                          <a:effectLst/>
                        </a:rPr>
                        <a:t>372</a:t>
                      </a:r>
                      <a:endParaRPr lang="en-GB" sz="24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Web site hosting costs and software subscriptions (Adobe)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2923878"/>
                  </a:ext>
                </a:extLst>
              </a:tr>
              <a:tr h="3729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u="none" strike="noStrike" dirty="0">
                          <a:effectLst/>
                        </a:rPr>
                        <a:t>72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Bank Transaction charges 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2802678"/>
                  </a:ext>
                </a:extLst>
              </a:tr>
              <a:tr h="3729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u="none" strike="noStrike" dirty="0">
                          <a:effectLst/>
                        </a:rPr>
                        <a:t>600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Planning Applications (Consultant costs ) 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464055"/>
                  </a:ext>
                </a:extLst>
              </a:tr>
              <a:tr h="3729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u="none" strike="noStrike" dirty="0">
                          <a:effectLst/>
                        </a:rPr>
                        <a:t> -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u="none" strike="noStrike">
                          <a:effectLst/>
                        </a:rPr>
                        <a:t>Local Planning Appeal </a:t>
                      </a:r>
                      <a:endParaRPr lang="en-GB" sz="2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5070192"/>
                  </a:ext>
                </a:extLst>
              </a:tr>
              <a:tr h="3729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u="none" strike="noStrike" dirty="0">
                          <a:effectLst/>
                        </a:rPr>
                        <a:t>25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Subscription London Green Belt 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5908098"/>
                  </a:ext>
                </a:extLst>
              </a:tr>
              <a:tr h="3729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u="none" strike="noStrike" dirty="0">
                          <a:effectLst/>
                        </a:rPr>
                        <a:t>25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Village Day expenses 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3865912"/>
                  </a:ext>
                </a:extLst>
              </a:tr>
              <a:tr h="42590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2400" u="none" strike="noStrike" dirty="0">
                          <a:effectLst/>
                        </a:rPr>
                        <a:t>60</a:t>
                      </a:r>
                      <a:endParaRPr lang="en-GB" sz="24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u="none" strike="noStrike" dirty="0">
                          <a:effectLst/>
                        </a:rPr>
                        <a:t>Subscription Campaign to Protect Rural England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u="none" strike="noStrike" dirty="0">
                          <a:effectLst/>
                        </a:rPr>
                        <a:t> 60</a:t>
                      </a:r>
                      <a:endParaRPr lang="en-GB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2605696"/>
                  </a:ext>
                </a:extLst>
              </a:tr>
              <a:tr h="37297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2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tirement gift for Secretary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1485962"/>
                  </a:ext>
                </a:extLst>
              </a:tr>
              <a:tr h="37297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2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400" u="none" strike="noStrike" dirty="0">
                          <a:effectLst/>
                        </a:rPr>
                        <a:t>AGM Speaker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7 </a:t>
                      </a: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6384061"/>
                  </a:ext>
                </a:extLst>
              </a:tr>
              <a:tr h="3980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2500" b="1" u="none" strike="noStrike" dirty="0">
                          <a:effectLst/>
                        </a:rPr>
                        <a:t>£1,561</a:t>
                      </a:r>
                      <a:endParaRPr lang="en-GB" sz="25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500" b="1" u="none" strike="noStrike" dirty="0">
                          <a:effectLst/>
                        </a:rPr>
                        <a:t>Total Expenditure </a:t>
                      </a:r>
                      <a:endParaRPr lang="en-GB" sz="25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500" b="1" u="none" strike="noStrike" dirty="0">
                          <a:effectLst/>
                        </a:rPr>
                        <a:t>£1,615</a:t>
                      </a:r>
                      <a:endParaRPr lang="en-GB" sz="25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557" marR="12557" marT="125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6698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7686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E2D84E5-BB9E-F6B0-85E0-EFDE5217E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D909EE9-FF49-FB05-B9F2-5968088E629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0514274"/>
              </p:ext>
            </p:extLst>
          </p:nvPr>
        </p:nvGraphicFramePr>
        <p:xfrm>
          <a:off x="444196" y="1215612"/>
          <a:ext cx="11476137" cy="4172688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2372677">
                  <a:extLst>
                    <a:ext uri="{9D8B030D-6E8A-4147-A177-3AD203B41FA5}">
                      <a16:colId xmlns:a16="http://schemas.microsoft.com/office/drawing/2014/main" val="88487501"/>
                    </a:ext>
                  </a:extLst>
                </a:gridCol>
                <a:gridCol w="7280461">
                  <a:extLst>
                    <a:ext uri="{9D8B030D-6E8A-4147-A177-3AD203B41FA5}">
                      <a16:colId xmlns:a16="http://schemas.microsoft.com/office/drawing/2014/main" val="1008273285"/>
                    </a:ext>
                  </a:extLst>
                </a:gridCol>
                <a:gridCol w="1822999">
                  <a:extLst>
                    <a:ext uri="{9D8B030D-6E8A-4147-A177-3AD203B41FA5}">
                      <a16:colId xmlns:a16="http://schemas.microsoft.com/office/drawing/2014/main" val="1380128935"/>
                    </a:ext>
                  </a:extLst>
                </a:gridCol>
              </a:tblGrid>
              <a:tr h="577178">
                <a:tc>
                  <a:txBody>
                    <a:bodyPr/>
                    <a:lstStyle/>
                    <a:p>
                      <a:pPr algn="ctr" fontAlgn="b"/>
                      <a:r>
                        <a:rPr lang="en-GB" sz="3700" b="1" u="none" strike="noStrike" dirty="0">
                          <a:effectLst/>
                        </a:rPr>
                        <a:t>2024 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700" b="1" u="none" strike="noStrike" dirty="0">
                          <a:effectLst/>
                        </a:rPr>
                        <a:t>Year End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700" b="1" u="none" strike="noStrike" dirty="0">
                          <a:effectLst/>
                        </a:rPr>
                        <a:t>2025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669841"/>
                  </a:ext>
                </a:extLst>
              </a:tr>
              <a:tr h="680718"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 </a:t>
                      </a:r>
                      <a:endParaRPr lang="en-GB" sz="3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 </a:t>
                      </a:r>
                      <a:endParaRPr lang="en-GB" sz="3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 </a:t>
                      </a:r>
                      <a:endParaRPr lang="en-GB" sz="3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2658375"/>
                  </a:ext>
                </a:extLst>
              </a:tr>
              <a:tr h="577178"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3,221 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700" b="1" u="none" strike="noStrike" dirty="0">
                          <a:effectLst/>
                        </a:rPr>
                        <a:t>Net Income/(Deficit) 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3,365 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6686191"/>
                  </a:ext>
                </a:extLst>
              </a:tr>
              <a:tr h="577178"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 </a:t>
                      </a:r>
                      <a:endParaRPr lang="en-GB" sz="3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700" b="1" u="none" strike="noStrike" dirty="0">
                          <a:effectLst/>
                        </a:rPr>
                        <a:t> </a:t>
                      </a:r>
                      <a:endParaRPr lang="en-GB" sz="3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 </a:t>
                      </a:r>
                      <a:endParaRPr lang="en-GB" sz="3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3831339"/>
                  </a:ext>
                </a:extLst>
              </a:tr>
              <a:tr h="577178"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37,461 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700" b="1" u="none" strike="noStrike" dirty="0">
                          <a:effectLst/>
                        </a:rPr>
                        <a:t>Opening Balance Jan 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40,682 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5300570"/>
                  </a:ext>
                </a:extLst>
              </a:tr>
              <a:tr h="577178"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 </a:t>
                      </a:r>
                      <a:endParaRPr lang="en-GB" sz="3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3700" b="1" u="none" strike="noStrike" dirty="0">
                          <a:effectLst/>
                        </a:rPr>
                        <a:t> </a:t>
                      </a:r>
                      <a:endParaRPr lang="en-GB" sz="3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 </a:t>
                      </a:r>
                      <a:endParaRPr lang="en-GB" sz="3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831109"/>
                  </a:ext>
                </a:extLst>
              </a:tr>
              <a:tr h="577178"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40,682 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3700" b="1" u="none" strike="noStrike" dirty="0">
                          <a:effectLst/>
                        </a:rPr>
                        <a:t>Closing Balance Dec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3700" b="1" u="none" strike="noStrike" dirty="0">
                          <a:effectLst/>
                        </a:rPr>
                        <a:t>44,047</a:t>
                      </a:r>
                      <a:endParaRPr lang="en-GB" sz="3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115" marR="18115" marT="181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0562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968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A053ABD-0747-FFDE-832A-40000743BB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6506" y="85725"/>
            <a:ext cx="6031269" cy="668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70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2E57457-9C17-A838-A972-3049633BA1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819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26FC14A-1133-CD9D-8477-B2172C0A9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6FC14A-1133-CD9D-8477-B2172C0A9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6F261DDB-836D-0A6D-FA82-3B4D8D4888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20850" y="4504729"/>
            <a:ext cx="9144000" cy="481084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en-GB" sz="3200" b="1" dirty="0"/>
              <a:t>AGM Monday 23rd March 2026</a:t>
            </a:r>
            <a:endParaRPr lang="en-GB" sz="3200" b="1" dirty="0">
              <a:ea typeface="Calibri"/>
              <a:cs typeface="Calibri"/>
            </a:endParaRPr>
          </a:p>
        </p:txBody>
      </p:sp>
      <p:sp>
        <p:nvSpPr>
          <p:cNvPr id="5" name="AutoShape 4" descr="North Mymms Greenbelt Society">
            <a:extLst>
              <a:ext uri="{FF2B5EF4-FFF2-40B4-BE49-F238E27FC236}">
                <a16:creationId xmlns:a16="http://schemas.microsoft.com/office/drawing/2014/main" id="{9D37BA22-B9B4-947B-8B03-C3E4405F53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A green and black sign&#10;&#10;AI-generated content may be incorrect.">
            <a:extLst>
              <a:ext uri="{FF2B5EF4-FFF2-40B4-BE49-F238E27FC236}">
                <a16:creationId xmlns:a16="http://schemas.microsoft.com/office/drawing/2014/main" id="{1DD846E0-F871-5DBA-D68D-A6ABEC8EB7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476846"/>
            <a:ext cx="7315200" cy="18764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32358A-E93E-BF00-BCCB-891BFD7DB2E3}"/>
              </a:ext>
            </a:extLst>
          </p:cNvPr>
          <p:cNvSpPr txBox="1"/>
          <p:nvPr/>
        </p:nvSpPr>
        <p:spPr>
          <a:xfrm>
            <a:off x="1062308" y="2551837"/>
            <a:ext cx="1006738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date on Development i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th Mymms Parish</a:t>
            </a:r>
          </a:p>
        </p:txBody>
      </p:sp>
    </p:spTree>
    <p:extLst>
      <p:ext uri="{BB962C8B-B14F-4D97-AF65-F5344CB8AC3E}">
        <p14:creationId xmlns:p14="http://schemas.microsoft.com/office/powerpoint/2010/main" val="245162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26FC14A-1133-CD9D-8477-B2172C0A9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6FC14A-1133-CD9D-8477-B2172C0A9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6F261DDB-836D-0A6D-FA82-3B4D8D4888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776716"/>
            <a:ext cx="9144000" cy="481084"/>
          </a:xfrm>
        </p:spPr>
        <p:txBody>
          <a:bodyPr/>
          <a:lstStyle/>
          <a:p>
            <a:r>
              <a:rPr lang="en-GB" b="1" dirty="0"/>
              <a:t>AGM Monday 31</a:t>
            </a:r>
            <a:r>
              <a:rPr lang="en-GB" b="1" baseline="30000" dirty="0"/>
              <a:t>st</a:t>
            </a:r>
            <a:r>
              <a:rPr lang="en-GB" b="1" dirty="0"/>
              <a:t> March 2025</a:t>
            </a:r>
          </a:p>
        </p:txBody>
      </p:sp>
      <p:sp>
        <p:nvSpPr>
          <p:cNvPr id="5" name="AutoShape 4" descr="North Mymms Greenbelt Society">
            <a:extLst>
              <a:ext uri="{FF2B5EF4-FFF2-40B4-BE49-F238E27FC236}">
                <a16:creationId xmlns:a16="http://schemas.microsoft.com/office/drawing/2014/main" id="{9D37BA22-B9B4-947B-8B03-C3E4405F53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A green and black sign&#10;&#10;AI-generated content may be incorrect.">
            <a:extLst>
              <a:ext uri="{FF2B5EF4-FFF2-40B4-BE49-F238E27FC236}">
                <a16:creationId xmlns:a16="http://schemas.microsoft.com/office/drawing/2014/main" id="{1DD846E0-F871-5DBA-D68D-A6ABEC8EB7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812800"/>
            <a:ext cx="7315200" cy="18764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32358A-E93E-BF00-BCCB-891BFD7DB2E3}"/>
              </a:ext>
            </a:extLst>
          </p:cNvPr>
          <p:cNvSpPr txBox="1"/>
          <p:nvPr/>
        </p:nvSpPr>
        <p:spPr>
          <a:xfrm>
            <a:off x="2083844" y="2750403"/>
            <a:ext cx="8024313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date on development i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th </a:t>
            </a:r>
            <a:r>
              <a:rPr kumimoji="0" lang="en-GB" sz="5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ymms</a:t>
            </a: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rish</a:t>
            </a:r>
          </a:p>
        </p:txBody>
      </p:sp>
    </p:spTree>
    <p:extLst>
      <p:ext uri="{BB962C8B-B14F-4D97-AF65-F5344CB8AC3E}">
        <p14:creationId xmlns:p14="http://schemas.microsoft.com/office/powerpoint/2010/main" val="61214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96</TotalTime>
  <Words>1049</Words>
  <Application>Microsoft Office PowerPoint</Application>
  <PresentationFormat>Widescreen</PresentationFormat>
  <Paragraphs>273</Paragraphs>
  <Slides>32</Slides>
  <Notes>0</Notes>
  <HiddenSlides>2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8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elwyn Hatfield Local Plan</vt:lpstr>
      <vt:lpstr>Local Plan Review – public consultation</vt:lpstr>
      <vt:lpstr>Existing allocations:</vt:lpstr>
      <vt:lpstr>New potential site allocations being considered (All Green Belt Sites):</vt:lpstr>
      <vt:lpstr>Schedule of reasonable alternative sites (not included at this time):</vt:lpstr>
      <vt:lpstr>New dwellings to be spread over five tiers:</vt:lpstr>
      <vt:lpstr>PowerPoint Presentation</vt:lpstr>
      <vt:lpstr>Welham Green</vt:lpstr>
      <vt:lpstr>Welham Green – SDS7 Marshmoor</vt:lpstr>
      <vt:lpstr>Welham Green – SDS7 Marshmoor</vt:lpstr>
      <vt:lpstr>Welham Green – HS44 Welham Manor  </vt:lpstr>
      <vt:lpstr>Welham Green – HS45 Land west of Station Road  </vt:lpstr>
      <vt:lpstr>Brookmans Park </vt:lpstr>
      <vt:lpstr>Brookmans Park – HS22 West of BP</vt:lpstr>
      <vt:lpstr>Brookmans Park –  HS47 Golf Club Road</vt:lpstr>
      <vt:lpstr>Little Heath </vt:lpstr>
      <vt:lpstr>Little Heath</vt:lpstr>
      <vt:lpstr>North Mymms Parish: Brookmans Park, Welham Green &amp; Little Heath</vt:lpstr>
      <vt:lpstr>Non-Local-Plan Development</vt:lpstr>
      <vt:lpstr>New Local Plan Timelines</vt:lpstr>
      <vt:lpstr>Our Local Plan – Welwyn Hatfield Borough Council https://www.welhat.gov.uk/ourlocalplan </vt:lpstr>
      <vt:lpstr>Early engagement – Key themes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ol</dc:creator>
  <cp:lastModifiedBy>Ismayeel Syed</cp:lastModifiedBy>
  <cp:revision>6</cp:revision>
  <dcterms:created xsi:type="dcterms:W3CDTF">2025-03-13T13:53:04Z</dcterms:created>
  <dcterms:modified xsi:type="dcterms:W3CDTF">2026-03-23T16:49:44Z</dcterms:modified>
</cp:coreProperties>
</file>